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32" r:id="rId2"/>
  </p:sldMasterIdLst>
  <p:notesMasterIdLst>
    <p:notesMasterId r:id="rId23"/>
  </p:notesMasterIdLst>
  <p:sldIdLst>
    <p:sldId id="2147483315" r:id="rId3"/>
    <p:sldId id="2147483372" r:id="rId4"/>
    <p:sldId id="2147483409" r:id="rId5"/>
    <p:sldId id="2147483415" r:id="rId6"/>
    <p:sldId id="2147483373" r:id="rId7"/>
    <p:sldId id="2147483423" r:id="rId8"/>
    <p:sldId id="2147483420" r:id="rId9"/>
    <p:sldId id="2147483421" r:id="rId10"/>
    <p:sldId id="2147483422" r:id="rId11"/>
    <p:sldId id="2147483419" r:id="rId12"/>
    <p:sldId id="2147483401" r:id="rId13"/>
    <p:sldId id="2147483425" r:id="rId14"/>
    <p:sldId id="2147483430" r:id="rId15"/>
    <p:sldId id="2147483429" r:id="rId16"/>
    <p:sldId id="2147483427" r:id="rId17"/>
    <p:sldId id="2147483431" r:id="rId18"/>
    <p:sldId id="2147483426" r:id="rId19"/>
    <p:sldId id="2147483416" r:id="rId20"/>
    <p:sldId id="2147483417" r:id="rId21"/>
    <p:sldId id="2147478332" r:id="rId22"/>
  </p:sldIdLst>
  <p:sldSz cx="12192000" cy="6858000"/>
  <p:notesSz cx="6797675" cy="9859963"/>
  <p:custDataLst>
    <p:tags r:id="rId24"/>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1FD894EB-04BD-44F9-AF7B-D4BAD248A74A}">
          <p14:sldIdLst>
            <p14:sldId id="2147483315"/>
            <p14:sldId id="2147483372"/>
            <p14:sldId id="2147483409"/>
            <p14:sldId id="2147483415"/>
            <p14:sldId id="2147483373"/>
            <p14:sldId id="2147483423"/>
            <p14:sldId id="2147483420"/>
            <p14:sldId id="2147483421"/>
            <p14:sldId id="2147483422"/>
            <p14:sldId id="2147483419"/>
            <p14:sldId id="2147483401"/>
            <p14:sldId id="2147483425"/>
            <p14:sldId id="2147483430"/>
            <p14:sldId id="2147483429"/>
            <p14:sldId id="2147483427"/>
            <p14:sldId id="2147483431"/>
            <p14:sldId id="2147483426"/>
            <p14:sldId id="2147483416"/>
            <p14:sldId id="2147483417"/>
            <p14:sldId id="2147478332"/>
          </p14:sldIdLst>
        </p14:section>
      </p14:sectionLst>
    </p:ext>
    <p:ext uri="{EFAFB233-063F-42B5-8137-9DF3F51BA10A}">
      <p15:sldGuideLst xmlns:p15="http://schemas.microsoft.com/office/powerpoint/2012/main">
        <p15:guide id="1" orient="horz" pos="3566" userDrawn="1">
          <p15:clr>
            <a:srgbClr val="A4A3A4"/>
          </p15:clr>
        </p15:guide>
        <p15:guide id="5" pos="2933" userDrawn="1">
          <p15:clr>
            <a:srgbClr val="A4A3A4"/>
          </p15:clr>
        </p15:guide>
        <p15:guide id="7" pos="6743" userDrawn="1">
          <p15:clr>
            <a:srgbClr val="A4A3A4"/>
          </p15:clr>
        </p15:guide>
        <p15:guide id="8" orient="horz" pos="595" userDrawn="1">
          <p15:clr>
            <a:srgbClr val="A4A3A4"/>
          </p15:clr>
        </p15:guide>
        <p15:guide id="10" pos="6966" userDrawn="1">
          <p15:clr>
            <a:srgbClr val="A4A3A4"/>
          </p15:clr>
        </p15:guide>
        <p15:guide id="11" orient="horz" pos="890" userDrawn="1">
          <p15:clr>
            <a:srgbClr val="A4A3A4"/>
          </p15:clr>
        </p15:guide>
        <p15:guide id="12" orient="horz" pos="2387" userDrawn="1">
          <p15:clr>
            <a:srgbClr val="A4A3A4"/>
          </p15:clr>
        </p15:guide>
        <p15:guide id="13" orient="horz" pos="3997" userDrawn="1">
          <p15:clr>
            <a:srgbClr val="A4A3A4"/>
          </p15:clr>
        </p15:guide>
        <p15:guide id="14" orient="horz" pos="1820" userDrawn="1">
          <p15:clr>
            <a:srgbClr val="A4A3A4"/>
          </p15:clr>
        </p15:guide>
        <p15:guide id="15" orient="horz" pos="288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71"/>
    <a:srgbClr val="0081A4"/>
    <a:srgbClr val="C00000"/>
    <a:srgbClr val="2AA798"/>
    <a:srgbClr val="32C8B6"/>
    <a:srgbClr val="002630"/>
    <a:srgbClr val="E8E8E8"/>
    <a:srgbClr val="009999"/>
    <a:srgbClr val="7F7F7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B74CB7-6DA4-4355-94E7-F63F4DFDD9E9}" v="129" dt="2025-06-30T15:57:44.643"/>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493" autoAdjust="0"/>
    <p:restoredTop sz="96283" autoAdjust="0"/>
  </p:normalViewPr>
  <p:slideViewPr>
    <p:cSldViewPr snapToGrid="0" showGuides="1">
      <p:cViewPr varScale="1">
        <p:scale>
          <a:sx n="107" d="100"/>
          <a:sy n="107" d="100"/>
        </p:scale>
        <p:origin x="930" y="102"/>
      </p:cViewPr>
      <p:guideLst>
        <p:guide orient="horz" pos="3566"/>
        <p:guide pos="2933"/>
        <p:guide pos="6743"/>
        <p:guide orient="horz" pos="595"/>
        <p:guide pos="6966"/>
        <p:guide orient="horz" pos="890"/>
        <p:guide orient="horz" pos="2387"/>
        <p:guide orient="horz" pos="3997"/>
        <p:guide orient="horz" pos="1820"/>
        <p:guide orient="horz" pos="2886"/>
      </p:guideLst>
    </p:cSldViewPr>
  </p:slideViewPr>
  <p:notesTextViewPr>
    <p:cViewPr>
      <p:scale>
        <a:sx n="400" d="100"/>
        <a:sy n="4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narriz Herrador Iñaki" userId="11637121-8aee-420b-9db7-54651cb06796" providerId="ADAL" clId="{A5A63F93-E248-43A4-BFE0-94814416B416}"/>
    <pc:docChg chg="undo custSel addSld modSld modSection">
      <pc:chgData name="Munarriz Herrador Iñaki" userId="11637121-8aee-420b-9db7-54651cb06796" providerId="ADAL" clId="{A5A63F93-E248-43A4-BFE0-94814416B416}" dt="2024-06-28T11:30:24.575" v="264" actId="1076"/>
      <pc:docMkLst>
        <pc:docMk/>
      </pc:docMkLst>
      <pc:sldChg chg="addSp delSp modSp add mod">
        <pc:chgData name="Munarriz Herrador Iñaki" userId="11637121-8aee-420b-9db7-54651cb06796" providerId="ADAL" clId="{A5A63F93-E248-43A4-BFE0-94814416B416}" dt="2024-06-28T11:30:24.575" v="264" actId="1076"/>
        <pc:sldMkLst>
          <pc:docMk/>
          <pc:sldMk cId="3749504679" sldId="2147483318"/>
        </pc:sldMkLst>
      </pc:sldChg>
    </pc:docChg>
  </pc:docChgLst>
  <pc:docChgLst>
    <pc:chgData name="Munarriz Herrador Iñaki" userId="11637121-8aee-420b-9db7-54651cb06796" providerId="ADAL" clId="{40696C48-91B3-44FD-BACC-CB4D5CD22FD1}"/>
    <pc:docChg chg="undo custSel addSld delSld modSld modSection">
      <pc:chgData name="Munarriz Herrador Iñaki" userId="11637121-8aee-420b-9db7-54651cb06796" providerId="ADAL" clId="{40696C48-91B3-44FD-BACC-CB4D5CD22FD1}" dt="2024-06-05T14:36:47.320" v="3083" actId="14100"/>
      <pc:docMkLst>
        <pc:docMk/>
      </pc:docMkLst>
      <pc:sldChg chg="del">
        <pc:chgData name="Munarriz Herrador Iñaki" userId="11637121-8aee-420b-9db7-54651cb06796" providerId="ADAL" clId="{40696C48-91B3-44FD-BACC-CB4D5CD22FD1}" dt="2024-05-20T16:41:50.457" v="529" actId="47"/>
        <pc:sldMkLst>
          <pc:docMk/>
          <pc:sldMk cId="1754681115" sldId="435"/>
        </pc:sldMkLst>
      </pc:sldChg>
      <pc:sldChg chg="del">
        <pc:chgData name="Munarriz Herrador Iñaki" userId="11637121-8aee-420b-9db7-54651cb06796" providerId="ADAL" clId="{40696C48-91B3-44FD-BACC-CB4D5CD22FD1}" dt="2024-05-20T08:04:12.559" v="0" actId="47"/>
        <pc:sldMkLst>
          <pc:docMk/>
          <pc:sldMk cId="2097821841" sldId="459"/>
        </pc:sldMkLst>
      </pc:sldChg>
      <pc:sldChg chg="del">
        <pc:chgData name="Munarriz Herrador Iñaki" userId="11637121-8aee-420b-9db7-54651cb06796" providerId="ADAL" clId="{40696C48-91B3-44FD-BACC-CB4D5CD22FD1}" dt="2024-05-20T16:41:49.701" v="528" actId="47"/>
        <pc:sldMkLst>
          <pc:docMk/>
          <pc:sldMk cId="2722343528" sldId="480"/>
        </pc:sldMkLst>
      </pc:sldChg>
      <pc:sldChg chg="del">
        <pc:chgData name="Munarriz Herrador Iñaki" userId="11637121-8aee-420b-9db7-54651cb06796" providerId="ADAL" clId="{40696C48-91B3-44FD-BACC-CB4D5CD22FD1}" dt="2024-05-20T08:04:12.559" v="0" actId="47"/>
        <pc:sldMkLst>
          <pc:docMk/>
          <pc:sldMk cId="2933988909" sldId="490"/>
        </pc:sldMkLst>
      </pc:sldChg>
      <pc:sldChg chg="del">
        <pc:chgData name="Munarriz Herrador Iñaki" userId="11637121-8aee-420b-9db7-54651cb06796" providerId="ADAL" clId="{40696C48-91B3-44FD-BACC-CB4D5CD22FD1}" dt="2024-05-20T08:04:12.559" v="0" actId="47"/>
        <pc:sldMkLst>
          <pc:docMk/>
          <pc:sldMk cId="1586747582" sldId="495"/>
        </pc:sldMkLst>
      </pc:sldChg>
      <pc:sldChg chg="del">
        <pc:chgData name="Munarriz Herrador Iñaki" userId="11637121-8aee-420b-9db7-54651cb06796" providerId="ADAL" clId="{40696C48-91B3-44FD-BACC-CB4D5CD22FD1}" dt="2024-05-20T08:04:21.274" v="1" actId="47"/>
        <pc:sldMkLst>
          <pc:docMk/>
          <pc:sldMk cId="1434126347" sldId="497"/>
        </pc:sldMkLst>
      </pc:sldChg>
      <pc:sldChg chg="del">
        <pc:chgData name="Munarriz Herrador Iñaki" userId="11637121-8aee-420b-9db7-54651cb06796" providerId="ADAL" clId="{40696C48-91B3-44FD-BACC-CB4D5CD22FD1}" dt="2024-05-20T08:04:21.274" v="1" actId="47"/>
        <pc:sldMkLst>
          <pc:docMk/>
          <pc:sldMk cId="2529774298" sldId="498"/>
        </pc:sldMkLst>
      </pc:sldChg>
      <pc:sldChg chg="del">
        <pc:chgData name="Munarriz Herrador Iñaki" userId="11637121-8aee-420b-9db7-54651cb06796" providerId="ADAL" clId="{40696C48-91B3-44FD-BACC-CB4D5CD22FD1}" dt="2024-05-20T08:04:21.274" v="1" actId="47"/>
        <pc:sldMkLst>
          <pc:docMk/>
          <pc:sldMk cId="2048187816" sldId="500"/>
        </pc:sldMkLst>
      </pc:sldChg>
      <pc:sldChg chg="modSp add del mod">
        <pc:chgData name="Munarriz Herrador Iñaki" userId="11637121-8aee-420b-9db7-54651cb06796" providerId="ADAL" clId="{40696C48-91B3-44FD-BACC-CB4D5CD22FD1}" dt="2024-05-21T07:38:48.657" v="1110" actId="14100"/>
        <pc:sldMkLst>
          <pc:docMk/>
          <pc:sldMk cId="1616658181" sldId="806"/>
        </pc:sldMkLst>
      </pc:sldChg>
      <pc:sldChg chg="del">
        <pc:chgData name="Munarriz Herrador Iñaki" userId="11637121-8aee-420b-9db7-54651cb06796" providerId="ADAL" clId="{40696C48-91B3-44FD-BACC-CB4D5CD22FD1}" dt="2024-05-20T08:04:21.274" v="1" actId="47"/>
        <pc:sldMkLst>
          <pc:docMk/>
          <pc:sldMk cId="1656780474" sldId="807"/>
        </pc:sldMkLst>
      </pc:sldChg>
      <pc:sldChg chg="del">
        <pc:chgData name="Munarriz Herrador Iñaki" userId="11637121-8aee-420b-9db7-54651cb06796" providerId="ADAL" clId="{40696C48-91B3-44FD-BACC-CB4D5CD22FD1}" dt="2024-05-20T08:04:21.274" v="1" actId="47"/>
        <pc:sldMkLst>
          <pc:docMk/>
          <pc:sldMk cId="1900307273" sldId="808"/>
        </pc:sldMkLst>
      </pc:sldChg>
      <pc:sldChg chg="del">
        <pc:chgData name="Munarriz Herrador Iñaki" userId="11637121-8aee-420b-9db7-54651cb06796" providerId="ADAL" clId="{40696C48-91B3-44FD-BACC-CB4D5CD22FD1}" dt="2024-05-20T08:04:21.274" v="1" actId="47"/>
        <pc:sldMkLst>
          <pc:docMk/>
          <pc:sldMk cId="3015382304" sldId="809"/>
        </pc:sldMkLst>
      </pc:sldChg>
      <pc:sldChg chg="del">
        <pc:chgData name="Munarriz Herrador Iñaki" userId="11637121-8aee-420b-9db7-54651cb06796" providerId="ADAL" clId="{40696C48-91B3-44FD-BACC-CB4D5CD22FD1}" dt="2024-05-20T08:04:21.274" v="1" actId="47"/>
        <pc:sldMkLst>
          <pc:docMk/>
          <pc:sldMk cId="2263641396" sldId="810"/>
        </pc:sldMkLst>
      </pc:sldChg>
      <pc:sldChg chg="del">
        <pc:chgData name="Munarriz Herrador Iñaki" userId="11637121-8aee-420b-9db7-54651cb06796" providerId="ADAL" clId="{40696C48-91B3-44FD-BACC-CB4D5CD22FD1}" dt="2024-05-20T08:04:21.274" v="1" actId="47"/>
        <pc:sldMkLst>
          <pc:docMk/>
          <pc:sldMk cId="802874699" sldId="811"/>
        </pc:sldMkLst>
      </pc:sldChg>
      <pc:sldChg chg="del">
        <pc:chgData name="Munarriz Herrador Iñaki" userId="11637121-8aee-420b-9db7-54651cb06796" providerId="ADAL" clId="{40696C48-91B3-44FD-BACC-CB4D5CD22FD1}" dt="2024-05-20T08:04:21.274" v="1" actId="47"/>
        <pc:sldMkLst>
          <pc:docMk/>
          <pc:sldMk cId="1005477179" sldId="812"/>
        </pc:sldMkLst>
      </pc:sldChg>
      <pc:sldChg chg="del">
        <pc:chgData name="Munarriz Herrador Iñaki" userId="11637121-8aee-420b-9db7-54651cb06796" providerId="ADAL" clId="{40696C48-91B3-44FD-BACC-CB4D5CD22FD1}" dt="2024-05-20T08:04:21.274" v="1" actId="47"/>
        <pc:sldMkLst>
          <pc:docMk/>
          <pc:sldMk cId="1462443189" sldId="813"/>
        </pc:sldMkLst>
      </pc:sldChg>
      <pc:sldChg chg="del">
        <pc:chgData name="Munarriz Herrador Iñaki" userId="11637121-8aee-420b-9db7-54651cb06796" providerId="ADAL" clId="{40696C48-91B3-44FD-BACC-CB4D5CD22FD1}" dt="2024-05-20T08:04:21.274" v="1" actId="47"/>
        <pc:sldMkLst>
          <pc:docMk/>
          <pc:sldMk cId="874219090" sldId="814"/>
        </pc:sldMkLst>
      </pc:sldChg>
      <pc:sldChg chg="del">
        <pc:chgData name="Munarriz Herrador Iñaki" userId="11637121-8aee-420b-9db7-54651cb06796" providerId="ADAL" clId="{40696C48-91B3-44FD-BACC-CB4D5CD22FD1}" dt="2024-05-20T08:04:21.274" v="1" actId="47"/>
        <pc:sldMkLst>
          <pc:docMk/>
          <pc:sldMk cId="1292986524" sldId="815"/>
        </pc:sldMkLst>
      </pc:sldChg>
      <pc:sldChg chg="del">
        <pc:chgData name="Munarriz Herrador Iñaki" userId="11637121-8aee-420b-9db7-54651cb06796" providerId="ADAL" clId="{40696C48-91B3-44FD-BACC-CB4D5CD22FD1}" dt="2024-05-20T08:04:21.274" v="1" actId="47"/>
        <pc:sldMkLst>
          <pc:docMk/>
          <pc:sldMk cId="3344288659" sldId="816"/>
        </pc:sldMkLst>
      </pc:sldChg>
      <pc:sldChg chg="del">
        <pc:chgData name="Munarriz Herrador Iñaki" userId="11637121-8aee-420b-9db7-54651cb06796" providerId="ADAL" clId="{40696C48-91B3-44FD-BACC-CB4D5CD22FD1}" dt="2024-05-20T08:04:21.274" v="1" actId="47"/>
        <pc:sldMkLst>
          <pc:docMk/>
          <pc:sldMk cId="271431928" sldId="817"/>
        </pc:sldMkLst>
      </pc:sldChg>
      <pc:sldChg chg="del">
        <pc:chgData name="Munarriz Herrador Iñaki" userId="11637121-8aee-420b-9db7-54651cb06796" providerId="ADAL" clId="{40696C48-91B3-44FD-BACC-CB4D5CD22FD1}" dt="2024-05-20T08:04:21.274" v="1" actId="47"/>
        <pc:sldMkLst>
          <pc:docMk/>
          <pc:sldMk cId="1685783883" sldId="823"/>
        </pc:sldMkLst>
      </pc:sldChg>
      <pc:sldChg chg="del">
        <pc:chgData name="Munarriz Herrador Iñaki" userId="11637121-8aee-420b-9db7-54651cb06796" providerId="ADAL" clId="{40696C48-91B3-44FD-BACC-CB4D5CD22FD1}" dt="2024-05-20T08:04:21.274" v="1" actId="47"/>
        <pc:sldMkLst>
          <pc:docMk/>
          <pc:sldMk cId="1903546216" sldId="824"/>
        </pc:sldMkLst>
      </pc:sldChg>
      <pc:sldChg chg="del">
        <pc:chgData name="Munarriz Herrador Iñaki" userId="11637121-8aee-420b-9db7-54651cb06796" providerId="ADAL" clId="{40696C48-91B3-44FD-BACC-CB4D5CD22FD1}" dt="2024-05-20T08:04:12.559" v="0" actId="47"/>
        <pc:sldMkLst>
          <pc:docMk/>
          <pc:sldMk cId="648639592" sldId="825"/>
        </pc:sldMkLst>
      </pc:sldChg>
      <pc:sldChg chg="del">
        <pc:chgData name="Munarriz Herrador Iñaki" userId="11637121-8aee-420b-9db7-54651cb06796" providerId="ADAL" clId="{40696C48-91B3-44FD-BACC-CB4D5CD22FD1}" dt="2024-05-20T08:04:21.274" v="1" actId="47"/>
        <pc:sldMkLst>
          <pc:docMk/>
          <pc:sldMk cId="2715031666" sldId="826"/>
        </pc:sldMkLst>
      </pc:sldChg>
      <pc:sldChg chg="addSp delSp modSp mod">
        <pc:chgData name="Munarriz Herrador Iñaki" userId="11637121-8aee-420b-9db7-54651cb06796" providerId="ADAL" clId="{40696C48-91B3-44FD-BACC-CB4D5CD22FD1}" dt="2024-05-21T08:26:18.265" v="1733" actId="1035"/>
        <pc:sldMkLst>
          <pc:docMk/>
          <pc:sldMk cId="128532313" sldId="827"/>
        </pc:sldMkLst>
      </pc:sldChg>
      <pc:sldChg chg="addSp delSp modSp add mod">
        <pc:chgData name="Munarriz Herrador Iñaki" userId="11637121-8aee-420b-9db7-54651cb06796" providerId="ADAL" clId="{40696C48-91B3-44FD-BACC-CB4D5CD22FD1}" dt="2024-05-20T17:19:50.365" v="628" actId="478"/>
        <pc:sldMkLst>
          <pc:docMk/>
          <pc:sldMk cId="3904767837" sldId="828"/>
        </pc:sldMkLst>
      </pc:sldChg>
      <pc:sldChg chg="addSp delSp modSp add mod">
        <pc:chgData name="Munarriz Herrador Iñaki" userId="11637121-8aee-420b-9db7-54651cb06796" providerId="ADAL" clId="{40696C48-91B3-44FD-BACC-CB4D5CD22FD1}" dt="2024-05-21T08:32:10.217" v="1883" actId="20577"/>
        <pc:sldMkLst>
          <pc:docMk/>
          <pc:sldMk cId="1054402032" sldId="829"/>
        </pc:sldMkLst>
      </pc:sldChg>
      <pc:sldChg chg="delSp modSp add mod">
        <pc:chgData name="Munarriz Herrador Iñaki" userId="11637121-8aee-420b-9db7-54651cb06796" providerId="ADAL" clId="{40696C48-91B3-44FD-BACC-CB4D5CD22FD1}" dt="2024-05-20T18:08:47.991" v="1079" actId="948"/>
        <pc:sldMkLst>
          <pc:docMk/>
          <pc:sldMk cId="3474182341" sldId="830"/>
        </pc:sldMkLst>
      </pc:sldChg>
      <pc:sldChg chg="add">
        <pc:chgData name="Munarriz Herrador Iñaki" userId="11637121-8aee-420b-9db7-54651cb06796" providerId="ADAL" clId="{40696C48-91B3-44FD-BACC-CB4D5CD22FD1}" dt="2024-05-21T07:43:27.262" v="1128"/>
        <pc:sldMkLst>
          <pc:docMk/>
          <pc:sldMk cId="3682512932" sldId="2147478332"/>
        </pc:sldMkLst>
      </pc:sldChg>
      <pc:sldChg chg="modSp add mod">
        <pc:chgData name="Munarriz Herrador Iñaki" userId="11637121-8aee-420b-9db7-54651cb06796" providerId="ADAL" clId="{40696C48-91B3-44FD-BACC-CB4D5CD22FD1}" dt="2024-05-21T07:43:01.889" v="1127" actId="20577"/>
        <pc:sldMkLst>
          <pc:docMk/>
          <pc:sldMk cId="0" sldId="2147483315"/>
        </pc:sldMkLst>
      </pc:sldChg>
      <pc:sldChg chg="addSp delSp modSp add mod">
        <pc:chgData name="Munarriz Herrador Iñaki" userId="11637121-8aee-420b-9db7-54651cb06796" providerId="ADAL" clId="{40696C48-91B3-44FD-BACC-CB4D5CD22FD1}" dt="2024-06-05T14:36:47.320" v="3083" actId="14100"/>
        <pc:sldMkLst>
          <pc:docMk/>
          <pc:sldMk cId="837960401" sldId="2147483316"/>
        </pc:sldMkLst>
      </pc:sldChg>
      <pc:sldChg chg="addSp modSp add mod">
        <pc:chgData name="Munarriz Herrador Iñaki" userId="11637121-8aee-420b-9db7-54651cb06796" providerId="ADAL" clId="{40696C48-91B3-44FD-BACC-CB4D5CD22FD1}" dt="2024-06-05T11:45:50.484" v="1887" actId="1076"/>
        <pc:sldMkLst>
          <pc:docMk/>
          <pc:sldMk cId="402773593" sldId="2147483317"/>
        </pc:sldMkLst>
      </pc:sldChg>
      <pc:sldMasterChg chg="delSldLayout">
        <pc:chgData name="Munarriz Herrador Iñaki" userId="11637121-8aee-420b-9db7-54651cb06796" providerId="ADAL" clId="{40696C48-91B3-44FD-BACC-CB4D5CD22FD1}" dt="2024-05-20T08:04:21.274" v="1" actId="47"/>
        <pc:sldMasterMkLst>
          <pc:docMk/>
          <pc:sldMasterMk cId="3682351262" sldId="2147483732"/>
        </pc:sldMasterMkLst>
        <pc:sldLayoutChg chg="del">
          <pc:chgData name="Munarriz Herrador Iñaki" userId="11637121-8aee-420b-9db7-54651cb06796" providerId="ADAL" clId="{40696C48-91B3-44FD-BACC-CB4D5CD22FD1}" dt="2024-05-20T08:04:12.559" v="0" actId="47"/>
          <pc:sldLayoutMkLst>
            <pc:docMk/>
            <pc:sldMasterMk cId="3682351262" sldId="2147483732"/>
            <pc:sldLayoutMk cId="2229808591" sldId="2147483882"/>
          </pc:sldLayoutMkLst>
        </pc:sldLayoutChg>
        <pc:sldLayoutChg chg="del">
          <pc:chgData name="Munarriz Herrador Iñaki" userId="11637121-8aee-420b-9db7-54651cb06796" providerId="ADAL" clId="{40696C48-91B3-44FD-BACC-CB4D5CD22FD1}" dt="2024-05-20T08:04:21.274" v="1" actId="47"/>
          <pc:sldLayoutMkLst>
            <pc:docMk/>
            <pc:sldMasterMk cId="3682351262" sldId="2147483732"/>
            <pc:sldLayoutMk cId="3799599943" sldId="2147483883"/>
          </pc:sldLayoutMkLst>
        </pc:sldLayoutChg>
        <pc:sldLayoutChg chg="del">
          <pc:chgData name="Munarriz Herrador Iñaki" userId="11637121-8aee-420b-9db7-54651cb06796" providerId="ADAL" clId="{40696C48-91B3-44FD-BACC-CB4D5CD22FD1}" dt="2024-05-20T08:04:12.559" v="0" actId="47"/>
          <pc:sldLayoutMkLst>
            <pc:docMk/>
            <pc:sldMasterMk cId="3682351262" sldId="2147483732"/>
            <pc:sldLayoutMk cId="3704372388" sldId="2147483884"/>
          </pc:sldLayoutMkLst>
        </pc:sldLayoutChg>
      </pc:sldMasterChg>
    </pc:docChg>
  </pc:docChgLst>
  <pc:docChgLst>
    <pc:chgData name="Munarriz Herrador Iñaki" userId="11637121-8aee-420b-9db7-54651cb06796" providerId="ADAL" clId="{CAB74CB7-6DA4-4355-94E7-F63F4DFDD9E9}"/>
    <pc:docChg chg="undo redo custSel addSld delSld modSld sldOrd modSection">
      <pc:chgData name="Munarriz Herrador Iñaki" userId="11637121-8aee-420b-9db7-54651cb06796" providerId="ADAL" clId="{CAB74CB7-6DA4-4355-94E7-F63F4DFDD9E9}" dt="2025-07-03T14:10:34.715" v="1609" actId="20577"/>
      <pc:docMkLst>
        <pc:docMk/>
      </pc:docMkLst>
      <pc:sldChg chg="modSp mod">
        <pc:chgData name="Munarriz Herrador Iñaki" userId="11637121-8aee-420b-9db7-54651cb06796" providerId="ADAL" clId="{CAB74CB7-6DA4-4355-94E7-F63F4DFDD9E9}" dt="2025-07-03T14:10:34.715" v="1609" actId="20577"/>
        <pc:sldMkLst>
          <pc:docMk/>
          <pc:sldMk cId="0" sldId="2147483315"/>
        </pc:sldMkLst>
        <pc:spChg chg="mod">
          <ac:chgData name="Munarriz Herrador Iñaki" userId="11637121-8aee-420b-9db7-54651cb06796" providerId="ADAL" clId="{CAB74CB7-6DA4-4355-94E7-F63F4DFDD9E9}" dt="2025-06-26T09:56:06.521" v="3" actId="20577"/>
          <ac:spMkLst>
            <pc:docMk/>
            <pc:sldMk cId="0" sldId="2147483315"/>
            <ac:spMk id="6" creationId="{00000000-0000-0000-0000-000000000000}"/>
          </ac:spMkLst>
        </pc:spChg>
        <pc:spChg chg="mod">
          <ac:chgData name="Munarriz Herrador Iñaki" userId="11637121-8aee-420b-9db7-54651cb06796" providerId="ADAL" clId="{CAB74CB7-6DA4-4355-94E7-F63F4DFDD9E9}" dt="2025-07-03T14:10:34.715" v="1609" actId="20577"/>
          <ac:spMkLst>
            <pc:docMk/>
            <pc:sldMk cId="0" sldId="2147483315"/>
            <ac:spMk id="11" creationId="{D2ABA22D-F23D-20AB-0DA8-B06D42BD659D}"/>
          </ac:spMkLst>
        </pc:spChg>
      </pc:sldChg>
      <pc:sldChg chg="modSp mod">
        <pc:chgData name="Munarriz Herrador Iñaki" userId="11637121-8aee-420b-9db7-54651cb06796" providerId="ADAL" clId="{CAB74CB7-6DA4-4355-94E7-F63F4DFDD9E9}" dt="2025-06-30T15:43:52.306" v="1409" actId="20577"/>
        <pc:sldMkLst>
          <pc:docMk/>
          <pc:sldMk cId="88093545" sldId="2147483372"/>
        </pc:sldMkLst>
        <pc:spChg chg="mod">
          <ac:chgData name="Munarriz Herrador Iñaki" userId="11637121-8aee-420b-9db7-54651cb06796" providerId="ADAL" clId="{CAB74CB7-6DA4-4355-94E7-F63F4DFDD9E9}" dt="2025-06-30T15:43:52.306" v="1409" actId="20577"/>
          <ac:spMkLst>
            <pc:docMk/>
            <pc:sldMk cId="88093545" sldId="2147483372"/>
            <ac:spMk id="8" creationId="{B653FEEB-5B1B-5220-1426-D789485673FE}"/>
          </ac:spMkLst>
        </pc:spChg>
      </pc:sldChg>
      <pc:sldChg chg="addSp delSp modSp mod">
        <pc:chgData name="Munarriz Herrador Iñaki" userId="11637121-8aee-420b-9db7-54651cb06796" providerId="ADAL" clId="{CAB74CB7-6DA4-4355-94E7-F63F4DFDD9E9}" dt="2025-06-27T11:36:17.207" v="1364"/>
        <pc:sldMkLst>
          <pc:docMk/>
          <pc:sldMk cId="1243781170" sldId="2147483373"/>
        </pc:sldMkLst>
        <pc:spChg chg="add del mod">
          <ac:chgData name="Munarriz Herrador Iñaki" userId="11637121-8aee-420b-9db7-54651cb06796" providerId="ADAL" clId="{CAB74CB7-6DA4-4355-94E7-F63F4DFDD9E9}" dt="2025-06-27T11:36:17.207" v="1364"/>
          <ac:spMkLst>
            <pc:docMk/>
            <pc:sldMk cId="1243781170" sldId="2147483373"/>
            <ac:spMk id="6" creationId="{8BEF89A0-9B50-124A-6F46-17A2C809E6F0}"/>
          </ac:spMkLst>
        </pc:spChg>
        <pc:spChg chg="mod topLvl">
          <ac:chgData name="Munarriz Herrador Iñaki" userId="11637121-8aee-420b-9db7-54651cb06796" providerId="ADAL" clId="{CAB74CB7-6DA4-4355-94E7-F63F4DFDD9E9}" dt="2025-06-27T11:34:33.778" v="1357" actId="164"/>
          <ac:spMkLst>
            <pc:docMk/>
            <pc:sldMk cId="1243781170" sldId="2147483373"/>
            <ac:spMk id="11" creationId="{5BB125DB-F813-949A-99A7-A9A6AC44B387}"/>
          </ac:spMkLst>
        </pc:spChg>
        <pc:spChg chg="mod ord topLvl">
          <ac:chgData name="Munarriz Herrador Iñaki" userId="11637121-8aee-420b-9db7-54651cb06796" providerId="ADAL" clId="{CAB74CB7-6DA4-4355-94E7-F63F4DFDD9E9}" dt="2025-06-27T11:34:33.778" v="1357" actId="164"/>
          <ac:spMkLst>
            <pc:docMk/>
            <pc:sldMk cId="1243781170" sldId="2147483373"/>
            <ac:spMk id="14" creationId="{E3CF0BD5-F2D8-4DDE-B1A9-1CBB336FB670}"/>
          </ac:spMkLst>
        </pc:spChg>
        <pc:spChg chg="mod topLvl">
          <ac:chgData name="Munarriz Herrador Iñaki" userId="11637121-8aee-420b-9db7-54651cb06796" providerId="ADAL" clId="{CAB74CB7-6DA4-4355-94E7-F63F4DFDD9E9}" dt="2025-06-27T11:34:42.804" v="1358" actId="1076"/>
          <ac:spMkLst>
            <pc:docMk/>
            <pc:sldMk cId="1243781170" sldId="2147483373"/>
            <ac:spMk id="16" creationId="{4FEB89AF-6493-CA4A-A375-523CA0F523C1}"/>
          </ac:spMkLst>
        </pc:spChg>
        <pc:spChg chg="mod topLvl">
          <ac:chgData name="Munarriz Herrador Iñaki" userId="11637121-8aee-420b-9db7-54651cb06796" providerId="ADAL" clId="{CAB74CB7-6DA4-4355-94E7-F63F4DFDD9E9}" dt="2025-06-27T11:34:18.943" v="1354" actId="165"/>
          <ac:spMkLst>
            <pc:docMk/>
            <pc:sldMk cId="1243781170" sldId="2147483373"/>
            <ac:spMk id="17" creationId="{E489FA0E-5146-4715-B5C6-F21415523D81}"/>
          </ac:spMkLst>
        </pc:spChg>
        <pc:spChg chg="mod topLvl">
          <ac:chgData name="Munarriz Herrador Iñaki" userId="11637121-8aee-420b-9db7-54651cb06796" providerId="ADAL" clId="{CAB74CB7-6DA4-4355-94E7-F63F4DFDD9E9}" dt="2025-06-27T11:34:33.778" v="1357" actId="164"/>
          <ac:spMkLst>
            <pc:docMk/>
            <pc:sldMk cId="1243781170" sldId="2147483373"/>
            <ac:spMk id="25" creationId="{3DC411D3-02E6-2C49-577E-431E3D1FF260}"/>
          </ac:spMkLst>
        </pc:spChg>
        <pc:spChg chg="mod topLvl">
          <ac:chgData name="Munarriz Herrador Iñaki" userId="11637121-8aee-420b-9db7-54651cb06796" providerId="ADAL" clId="{CAB74CB7-6DA4-4355-94E7-F63F4DFDD9E9}" dt="2025-06-27T11:34:21.968" v="1355" actId="14100"/>
          <ac:spMkLst>
            <pc:docMk/>
            <pc:sldMk cId="1243781170" sldId="2147483373"/>
            <ac:spMk id="27" creationId="{A18CB189-6B2F-FF05-C878-C05BFBA1E48F}"/>
          </ac:spMkLst>
        </pc:spChg>
        <pc:spChg chg="mod topLvl">
          <ac:chgData name="Munarriz Herrador Iñaki" userId="11637121-8aee-420b-9db7-54651cb06796" providerId="ADAL" clId="{CAB74CB7-6DA4-4355-94E7-F63F4DFDD9E9}" dt="2025-06-27T11:34:18.943" v="1354" actId="165"/>
          <ac:spMkLst>
            <pc:docMk/>
            <pc:sldMk cId="1243781170" sldId="2147483373"/>
            <ac:spMk id="28" creationId="{6DC94D33-0540-8411-9AFF-BC554570FD22}"/>
          </ac:spMkLst>
        </pc:spChg>
        <pc:spChg chg="mod">
          <ac:chgData name="Munarriz Herrador Iñaki" userId="11637121-8aee-420b-9db7-54651cb06796" providerId="ADAL" clId="{CAB74CB7-6DA4-4355-94E7-F63F4DFDD9E9}" dt="2025-06-27T11:07:56.044" v="1324" actId="20577"/>
          <ac:spMkLst>
            <pc:docMk/>
            <pc:sldMk cId="1243781170" sldId="2147483373"/>
            <ac:spMk id="38" creationId="{691FDFAE-1869-C9D8-593E-52E54B8D9BA8}"/>
          </ac:spMkLst>
        </pc:spChg>
        <pc:spChg chg="mod">
          <ac:chgData name="Munarriz Herrador Iñaki" userId="11637121-8aee-420b-9db7-54651cb06796" providerId="ADAL" clId="{CAB74CB7-6DA4-4355-94E7-F63F4DFDD9E9}" dt="2025-06-27T11:08:09.820" v="1327" actId="20577"/>
          <ac:spMkLst>
            <pc:docMk/>
            <pc:sldMk cId="1243781170" sldId="2147483373"/>
            <ac:spMk id="39" creationId="{CC4DDFF4-761D-995B-6DF0-1E7532E18886}"/>
          </ac:spMkLst>
        </pc:spChg>
        <pc:spChg chg="mod">
          <ac:chgData name="Munarriz Herrador Iñaki" userId="11637121-8aee-420b-9db7-54651cb06796" providerId="ADAL" clId="{CAB74CB7-6DA4-4355-94E7-F63F4DFDD9E9}" dt="2025-06-27T11:34:48.392" v="1359" actId="14100"/>
          <ac:spMkLst>
            <pc:docMk/>
            <pc:sldMk cId="1243781170" sldId="2147483373"/>
            <ac:spMk id="41" creationId="{1D17B2A6-1FC3-8256-10F3-3AFCA2296B20}"/>
          </ac:spMkLst>
        </pc:spChg>
        <pc:spChg chg="mod">
          <ac:chgData name="Munarriz Herrador Iñaki" userId="11637121-8aee-420b-9db7-54651cb06796" providerId="ADAL" clId="{CAB74CB7-6DA4-4355-94E7-F63F4DFDD9E9}" dt="2025-06-27T10:54:11.661" v="1245" actId="20577"/>
          <ac:spMkLst>
            <pc:docMk/>
            <pc:sldMk cId="1243781170" sldId="2147483373"/>
            <ac:spMk id="42" creationId="{9320906B-9399-F7D8-A216-3D8FA59FFFD9}"/>
          </ac:spMkLst>
        </pc:spChg>
        <pc:spChg chg="mod">
          <ac:chgData name="Munarriz Herrador Iñaki" userId="11637121-8aee-420b-9db7-54651cb06796" providerId="ADAL" clId="{CAB74CB7-6DA4-4355-94E7-F63F4DFDD9E9}" dt="2025-06-27T11:07:34.967" v="1315" actId="20577"/>
          <ac:spMkLst>
            <pc:docMk/>
            <pc:sldMk cId="1243781170" sldId="2147483373"/>
            <ac:spMk id="44" creationId="{9947456F-95BE-E86D-DF69-B445F45E839E}"/>
          </ac:spMkLst>
        </pc:spChg>
        <pc:spChg chg="mod">
          <ac:chgData name="Munarriz Herrador Iñaki" userId="11637121-8aee-420b-9db7-54651cb06796" providerId="ADAL" clId="{CAB74CB7-6DA4-4355-94E7-F63F4DFDD9E9}" dt="2025-06-27T10:54:21.278" v="1254" actId="20577"/>
          <ac:spMkLst>
            <pc:docMk/>
            <pc:sldMk cId="1243781170" sldId="2147483373"/>
            <ac:spMk id="46" creationId="{2911DFDA-7CBF-CE55-8527-50CF72078341}"/>
          </ac:spMkLst>
        </pc:spChg>
        <pc:grpChg chg="add mod">
          <ac:chgData name="Munarriz Herrador Iñaki" userId="11637121-8aee-420b-9db7-54651cb06796" providerId="ADAL" clId="{CAB74CB7-6DA4-4355-94E7-F63F4DFDD9E9}" dt="2025-06-27T11:34:33.778" v="1357" actId="164"/>
          <ac:grpSpMkLst>
            <pc:docMk/>
            <pc:sldMk cId="1243781170" sldId="2147483373"/>
            <ac:grpSpMk id="4" creationId="{C33CD93C-1910-AC2F-0792-B6F0E500F84C}"/>
          </ac:grpSpMkLst>
        </pc:grpChg>
        <pc:grpChg chg="mod">
          <ac:chgData name="Munarriz Herrador Iñaki" userId="11637121-8aee-420b-9db7-54651cb06796" providerId="ADAL" clId="{CAB74CB7-6DA4-4355-94E7-F63F4DFDD9E9}" dt="2025-06-27T11:34:06.651" v="1351" actId="14100"/>
          <ac:grpSpMkLst>
            <pc:docMk/>
            <pc:sldMk cId="1243781170" sldId="2147483373"/>
            <ac:grpSpMk id="43" creationId="{64ED50A7-AB2A-7F01-F5AB-15829F2C15D0}"/>
          </ac:grpSpMkLst>
        </pc:grpChg>
      </pc:sldChg>
      <pc:sldChg chg="addSp delSp modSp mod">
        <pc:chgData name="Munarriz Herrador Iñaki" userId="11637121-8aee-420b-9db7-54651cb06796" providerId="ADAL" clId="{CAB74CB7-6DA4-4355-94E7-F63F4DFDD9E9}" dt="2025-06-27T10:54:47.297" v="1263" actId="20577"/>
        <pc:sldMkLst>
          <pc:docMk/>
          <pc:sldMk cId="2085739677" sldId="2147483401"/>
        </pc:sldMkLst>
        <pc:spChg chg="mod">
          <ac:chgData name="Munarriz Herrador Iñaki" userId="11637121-8aee-420b-9db7-54651cb06796" providerId="ADAL" clId="{CAB74CB7-6DA4-4355-94E7-F63F4DFDD9E9}" dt="2025-06-27T10:54:47.297" v="1263" actId="20577"/>
          <ac:spMkLst>
            <pc:docMk/>
            <pc:sldMk cId="2085739677" sldId="2147483401"/>
            <ac:spMk id="2" creationId="{3B484C4C-ACBA-F187-2C1F-D605A8F30CDF}"/>
          </ac:spMkLst>
        </pc:spChg>
        <pc:spChg chg="mod">
          <ac:chgData name="Munarriz Herrador Iñaki" userId="11637121-8aee-420b-9db7-54651cb06796" providerId="ADAL" clId="{CAB74CB7-6DA4-4355-94E7-F63F4DFDD9E9}" dt="2025-06-26T11:02:42.638" v="30" actId="20577"/>
          <ac:spMkLst>
            <pc:docMk/>
            <pc:sldMk cId="2085739677" sldId="2147483401"/>
            <ac:spMk id="4" creationId="{6C273F7D-CCBD-F3F2-7BED-FB9C3AD4A092}"/>
          </ac:spMkLst>
        </pc:spChg>
        <pc:spChg chg="add mod">
          <ac:chgData name="Munarriz Herrador Iñaki" userId="11637121-8aee-420b-9db7-54651cb06796" providerId="ADAL" clId="{CAB74CB7-6DA4-4355-94E7-F63F4DFDD9E9}" dt="2025-06-26T11:14:55.503" v="164" actId="20577"/>
          <ac:spMkLst>
            <pc:docMk/>
            <pc:sldMk cId="2085739677" sldId="2147483401"/>
            <ac:spMk id="5" creationId="{9669191A-B7A2-CC6B-9329-23C6D9190915}"/>
          </ac:spMkLst>
        </pc:spChg>
        <pc:spChg chg="mod">
          <ac:chgData name="Munarriz Herrador Iñaki" userId="11637121-8aee-420b-9db7-54651cb06796" providerId="ADAL" clId="{CAB74CB7-6DA4-4355-94E7-F63F4DFDD9E9}" dt="2025-06-26T11:04:08.351" v="43" actId="113"/>
          <ac:spMkLst>
            <pc:docMk/>
            <pc:sldMk cId="2085739677" sldId="2147483401"/>
            <ac:spMk id="6" creationId="{4D640CA6-3CA2-8440-10D3-BFED64F620AB}"/>
          </ac:spMkLst>
        </pc:spChg>
        <pc:picChg chg="add mod">
          <ac:chgData name="Munarriz Herrador Iñaki" userId="11637121-8aee-420b-9db7-54651cb06796" providerId="ADAL" clId="{CAB74CB7-6DA4-4355-94E7-F63F4DFDD9E9}" dt="2025-06-26T11:03:02.027" v="34" actId="14100"/>
          <ac:picMkLst>
            <pc:docMk/>
            <pc:sldMk cId="2085739677" sldId="2147483401"/>
            <ac:picMk id="3" creationId="{11746830-1D8E-AFAB-12AD-9A727657A4FE}"/>
          </ac:picMkLst>
        </pc:picChg>
      </pc:sldChg>
      <pc:sldChg chg="del">
        <pc:chgData name="Munarriz Herrador Iñaki" userId="11637121-8aee-420b-9db7-54651cb06796" providerId="ADAL" clId="{CAB74CB7-6DA4-4355-94E7-F63F4DFDD9E9}" dt="2025-06-27T08:44:12.912" v="826" actId="47"/>
        <pc:sldMkLst>
          <pc:docMk/>
          <pc:sldMk cId="2425737149" sldId="2147483402"/>
        </pc:sldMkLst>
      </pc:sldChg>
      <pc:sldChg chg="del">
        <pc:chgData name="Munarriz Herrador Iñaki" userId="11637121-8aee-420b-9db7-54651cb06796" providerId="ADAL" clId="{CAB74CB7-6DA4-4355-94E7-F63F4DFDD9E9}" dt="2025-06-27T08:44:12.912" v="826" actId="47"/>
        <pc:sldMkLst>
          <pc:docMk/>
          <pc:sldMk cId="2876304681" sldId="2147483403"/>
        </pc:sldMkLst>
      </pc:sldChg>
      <pc:sldChg chg="del">
        <pc:chgData name="Munarriz Herrador Iñaki" userId="11637121-8aee-420b-9db7-54651cb06796" providerId="ADAL" clId="{CAB74CB7-6DA4-4355-94E7-F63F4DFDD9E9}" dt="2025-06-27T08:44:12.912" v="826" actId="47"/>
        <pc:sldMkLst>
          <pc:docMk/>
          <pc:sldMk cId="1567361310" sldId="2147483404"/>
        </pc:sldMkLst>
      </pc:sldChg>
      <pc:sldChg chg="del">
        <pc:chgData name="Munarriz Herrador Iñaki" userId="11637121-8aee-420b-9db7-54651cb06796" providerId="ADAL" clId="{CAB74CB7-6DA4-4355-94E7-F63F4DFDD9E9}" dt="2025-06-27T08:44:12.912" v="826" actId="47"/>
        <pc:sldMkLst>
          <pc:docMk/>
          <pc:sldMk cId="559595493" sldId="2147483405"/>
        </pc:sldMkLst>
      </pc:sldChg>
      <pc:sldChg chg="del">
        <pc:chgData name="Munarriz Herrador Iñaki" userId="11637121-8aee-420b-9db7-54651cb06796" providerId="ADAL" clId="{CAB74CB7-6DA4-4355-94E7-F63F4DFDD9E9}" dt="2025-06-27T08:44:12.912" v="826" actId="47"/>
        <pc:sldMkLst>
          <pc:docMk/>
          <pc:sldMk cId="1724892760" sldId="2147483406"/>
        </pc:sldMkLst>
      </pc:sldChg>
      <pc:sldChg chg="del">
        <pc:chgData name="Munarriz Herrador Iñaki" userId="11637121-8aee-420b-9db7-54651cb06796" providerId="ADAL" clId="{CAB74CB7-6DA4-4355-94E7-F63F4DFDD9E9}" dt="2025-06-27T08:44:12.912" v="826" actId="47"/>
        <pc:sldMkLst>
          <pc:docMk/>
          <pc:sldMk cId="3545608862" sldId="2147483407"/>
        </pc:sldMkLst>
      </pc:sldChg>
      <pc:sldChg chg="del">
        <pc:chgData name="Munarriz Herrador Iñaki" userId="11637121-8aee-420b-9db7-54651cb06796" providerId="ADAL" clId="{CAB74CB7-6DA4-4355-94E7-F63F4DFDD9E9}" dt="2025-06-27T08:43:52.422" v="825" actId="47"/>
        <pc:sldMkLst>
          <pc:docMk/>
          <pc:sldMk cId="624714175" sldId="2147483408"/>
        </pc:sldMkLst>
      </pc:sldChg>
      <pc:sldChg chg="addSp delSp modSp mod">
        <pc:chgData name="Munarriz Herrador Iñaki" userId="11637121-8aee-420b-9db7-54651cb06796" providerId="ADAL" clId="{CAB74CB7-6DA4-4355-94E7-F63F4DFDD9E9}" dt="2025-06-30T16:21:35.648" v="1607" actId="554"/>
        <pc:sldMkLst>
          <pc:docMk/>
          <pc:sldMk cId="2428685999" sldId="2147483409"/>
        </pc:sldMkLst>
        <pc:picChg chg="add mod">
          <ac:chgData name="Munarriz Herrador Iñaki" userId="11637121-8aee-420b-9db7-54651cb06796" providerId="ADAL" clId="{CAB74CB7-6DA4-4355-94E7-F63F4DFDD9E9}" dt="2025-06-30T16:21:35.648" v="1607" actId="554"/>
          <ac:picMkLst>
            <pc:docMk/>
            <pc:sldMk cId="2428685999" sldId="2147483409"/>
            <ac:picMk id="12" creationId="{F203BBB8-0E93-7A2D-3F5A-DC542834D476}"/>
          </ac:picMkLst>
        </pc:picChg>
        <pc:picChg chg="add mod">
          <ac:chgData name="Munarriz Herrador Iñaki" userId="11637121-8aee-420b-9db7-54651cb06796" providerId="ADAL" clId="{CAB74CB7-6DA4-4355-94E7-F63F4DFDD9E9}" dt="2025-06-30T16:21:35.648" v="1607" actId="554"/>
          <ac:picMkLst>
            <pc:docMk/>
            <pc:sldMk cId="2428685999" sldId="2147483409"/>
            <ac:picMk id="14" creationId="{54D4214A-F146-3323-570F-193B10A1AF64}"/>
          </ac:picMkLst>
        </pc:picChg>
        <pc:picChg chg="add mod">
          <ac:chgData name="Munarriz Herrador Iñaki" userId="11637121-8aee-420b-9db7-54651cb06796" providerId="ADAL" clId="{CAB74CB7-6DA4-4355-94E7-F63F4DFDD9E9}" dt="2025-06-30T16:21:18.833" v="1604" actId="1076"/>
          <ac:picMkLst>
            <pc:docMk/>
            <pc:sldMk cId="2428685999" sldId="2147483409"/>
            <ac:picMk id="16" creationId="{6D91A1B6-C9EA-6940-5841-6CAB0A25C1B2}"/>
          </ac:picMkLst>
        </pc:picChg>
        <pc:picChg chg="add mod">
          <ac:chgData name="Munarriz Herrador Iñaki" userId="11637121-8aee-420b-9db7-54651cb06796" providerId="ADAL" clId="{CAB74CB7-6DA4-4355-94E7-F63F4DFDD9E9}" dt="2025-06-30T16:21:29.227" v="1606" actId="552"/>
          <ac:picMkLst>
            <pc:docMk/>
            <pc:sldMk cId="2428685999" sldId="2147483409"/>
            <ac:picMk id="18" creationId="{F340B520-60BE-B525-23F4-2B9EEDBED42B}"/>
          </ac:picMkLst>
        </pc:picChg>
      </pc:sldChg>
      <pc:sldChg chg="del">
        <pc:chgData name="Munarriz Herrador Iñaki" userId="11637121-8aee-420b-9db7-54651cb06796" providerId="ADAL" clId="{CAB74CB7-6DA4-4355-94E7-F63F4DFDD9E9}" dt="2025-06-27T08:43:52.422" v="825" actId="47"/>
        <pc:sldMkLst>
          <pc:docMk/>
          <pc:sldMk cId="792640642" sldId="2147483410"/>
        </pc:sldMkLst>
      </pc:sldChg>
      <pc:sldChg chg="del">
        <pc:chgData name="Munarriz Herrador Iñaki" userId="11637121-8aee-420b-9db7-54651cb06796" providerId="ADAL" clId="{CAB74CB7-6DA4-4355-94E7-F63F4DFDD9E9}" dt="2025-06-27T08:43:52.422" v="825" actId="47"/>
        <pc:sldMkLst>
          <pc:docMk/>
          <pc:sldMk cId="2680299840" sldId="2147483412"/>
        </pc:sldMkLst>
      </pc:sldChg>
      <pc:sldChg chg="del">
        <pc:chgData name="Munarriz Herrador Iñaki" userId="11637121-8aee-420b-9db7-54651cb06796" providerId="ADAL" clId="{CAB74CB7-6DA4-4355-94E7-F63F4DFDD9E9}" dt="2025-06-27T08:43:52.422" v="825" actId="47"/>
        <pc:sldMkLst>
          <pc:docMk/>
          <pc:sldMk cId="1307132154" sldId="2147483414"/>
        </pc:sldMkLst>
      </pc:sldChg>
      <pc:sldChg chg="addSp delSp modSp mod">
        <pc:chgData name="Munarriz Herrador Iñaki" userId="11637121-8aee-420b-9db7-54651cb06796" providerId="ADAL" clId="{CAB74CB7-6DA4-4355-94E7-F63F4DFDD9E9}" dt="2025-06-30T16:20:57.829" v="1593" actId="14100"/>
        <pc:sldMkLst>
          <pc:docMk/>
          <pc:sldMk cId="17658299" sldId="2147483415"/>
        </pc:sldMkLst>
        <pc:spChg chg="mod">
          <ac:chgData name="Munarriz Herrador Iñaki" userId="11637121-8aee-420b-9db7-54651cb06796" providerId="ADAL" clId="{CAB74CB7-6DA4-4355-94E7-F63F4DFDD9E9}" dt="2025-06-30T14:23:58.049" v="1406" actId="20577"/>
          <ac:spMkLst>
            <pc:docMk/>
            <pc:sldMk cId="17658299" sldId="2147483415"/>
            <ac:spMk id="12" creationId="{93E60E6D-EA43-22FE-9D59-AA5BB2803CBF}"/>
          </ac:spMkLst>
        </pc:spChg>
        <pc:spChg chg="mod">
          <ac:chgData name="Munarriz Herrador Iñaki" userId="11637121-8aee-420b-9db7-54651cb06796" providerId="ADAL" clId="{CAB74CB7-6DA4-4355-94E7-F63F4DFDD9E9}" dt="2025-06-30T16:20:57.829" v="1593" actId="14100"/>
          <ac:spMkLst>
            <pc:docMk/>
            <pc:sldMk cId="17658299" sldId="2147483415"/>
            <ac:spMk id="14" creationId="{B465FE55-FE87-88F2-6FBC-96F1929EF897}"/>
          </ac:spMkLst>
        </pc:spChg>
      </pc:sldChg>
      <pc:sldChg chg="modSp add del mod">
        <pc:chgData name="Munarriz Herrador Iñaki" userId="11637121-8aee-420b-9db7-54651cb06796" providerId="ADAL" clId="{CAB74CB7-6DA4-4355-94E7-F63F4DFDD9E9}" dt="2025-06-30T15:57:52.101" v="1580" actId="20577"/>
        <pc:sldMkLst>
          <pc:docMk/>
          <pc:sldMk cId="2523228152" sldId="2147483416"/>
        </pc:sldMkLst>
        <pc:spChg chg="mod">
          <ac:chgData name="Munarriz Herrador Iñaki" userId="11637121-8aee-420b-9db7-54651cb06796" providerId="ADAL" clId="{CAB74CB7-6DA4-4355-94E7-F63F4DFDD9E9}" dt="2025-06-30T15:57:52.101" v="1580" actId="20577"/>
          <ac:spMkLst>
            <pc:docMk/>
            <pc:sldMk cId="2523228152" sldId="2147483416"/>
            <ac:spMk id="6" creationId="{280A4E55-B5B6-7FBE-ABE3-03B386534805}"/>
          </ac:spMkLst>
        </pc:spChg>
      </pc:sldChg>
      <pc:sldChg chg="addSp delSp modSp add del mod">
        <pc:chgData name="Munarriz Herrador Iñaki" userId="11637121-8aee-420b-9db7-54651cb06796" providerId="ADAL" clId="{CAB74CB7-6DA4-4355-94E7-F63F4DFDD9E9}" dt="2025-06-30T15:57:44.642" v="1577" actId="1076"/>
        <pc:sldMkLst>
          <pc:docMk/>
          <pc:sldMk cId="3043515397" sldId="2147483417"/>
        </pc:sldMkLst>
        <pc:spChg chg="mod">
          <ac:chgData name="Munarriz Herrador Iñaki" userId="11637121-8aee-420b-9db7-54651cb06796" providerId="ADAL" clId="{CAB74CB7-6DA4-4355-94E7-F63F4DFDD9E9}" dt="2025-06-30T15:57:36.541" v="1574" actId="14100"/>
          <ac:spMkLst>
            <pc:docMk/>
            <pc:sldMk cId="3043515397" sldId="2147483417"/>
            <ac:spMk id="8" creationId="{53AF77B8-5CBB-FC47-ED7C-D3C36F3FEEC4}"/>
          </ac:spMkLst>
        </pc:spChg>
        <pc:picChg chg="add mod">
          <ac:chgData name="Munarriz Herrador Iñaki" userId="11637121-8aee-420b-9db7-54651cb06796" providerId="ADAL" clId="{CAB74CB7-6DA4-4355-94E7-F63F4DFDD9E9}" dt="2025-06-30T15:57:44.642" v="1577" actId="1076"/>
          <ac:picMkLst>
            <pc:docMk/>
            <pc:sldMk cId="3043515397" sldId="2147483417"/>
            <ac:picMk id="1026" creationId="{314F3ECD-88E5-DF3A-3CB5-270B160F49D8}"/>
          </ac:picMkLst>
        </pc:picChg>
      </pc:sldChg>
      <pc:sldChg chg="add del">
        <pc:chgData name="Munarriz Herrador Iñaki" userId="11637121-8aee-420b-9db7-54651cb06796" providerId="ADAL" clId="{CAB74CB7-6DA4-4355-94E7-F63F4DFDD9E9}" dt="2025-06-27T08:44:12.912" v="826" actId="47"/>
        <pc:sldMkLst>
          <pc:docMk/>
          <pc:sldMk cId="689606832" sldId="2147483418"/>
        </pc:sldMkLst>
      </pc:sldChg>
      <pc:sldChg chg="addSp delSp modSp add mod ord">
        <pc:chgData name="Munarriz Herrador Iñaki" userId="11637121-8aee-420b-9db7-54651cb06796" providerId="ADAL" clId="{CAB74CB7-6DA4-4355-94E7-F63F4DFDD9E9}" dt="2025-06-27T10:54:43.850" v="1262" actId="20577"/>
        <pc:sldMkLst>
          <pc:docMk/>
          <pc:sldMk cId="2941204618" sldId="2147483419"/>
        </pc:sldMkLst>
        <pc:spChg chg="mod">
          <ac:chgData name="Munarriz Herrador Iñaki" userId="11637121-8aee-420b-9db7-54651cb06796" providerId="ADAL" clId="{CAB74CB7-6DA4-4355-94E7-F63F4DFDD9E9}" dt="2025-06-27T10:54:43.850" v="1262" actId="20577"/>
          <ac:spMkLst>
            <pc:docMk/>
            <pc:sldMk cId="2941204618" sldId="2147483419"/>
            <ac:spMk id="2" creationId="{F6F8EF28-670B-3735-C58B-8676A3D87D0A}"/>
          </ac:spMkLst>
        </pc:spChg>
        <pc:spChg chg="mod">
          <ac:chgData name="Munarriz Herrador Iñaki" userId="11637121-8aee-420b-9db7-54651cb06796" providerId="ADAL" clId="{CAB74CB7-6DA4-4355-94E7-F63F4DFDD9E9}" dt="2025-06-26T11:08:59.016" v="75" actId="1076"/>
          <ac:spMkLst>
            <pc:docMk/>
            <pc:sldMk cId="2941204618" sldId="2147483419"/>
            <ac:spMk id="4" creationId="{0694FE0D-BE50-4FD4-49DB-AA015AF33AA0}"/>
          </ac:spMkLst>
        </pc:spChg>
        <pc:spChg chg="mod">
          <ac:chgData name="Munarriz Herrador Iñaki" userId="11637121-8aee-420b-9db7-54651cb06796" providerId="ADAL" clId="{CAB74CB7-6DA4-4355-94E7-F63F4DFDD9E9}" dt="2025-06-26T11:09:20.875" v="78" actId="113"/>
          <ac:spMkLst>
            <pc:docMk/>
            <pc:sldMk cId="2941204618" sldId="2147483419"/>
            <ac:spMk id="6" creationId="{AF532910-AF89-9348-D4E5-3C7AB4BCCCF8}"/>
          </ac:spMkLst>
        </pc:spChg>
        <pc:spChg chg="add mod">
          <ac:chgData name="Munarriz Herrador Iñaki" userId="11637121-8aee-420b-9db7-54651cb06796" providerId="ADAL" clId="{CAB74CB7-6DA4-4355-94E7-F63F4DFDD9E9}" dt="2025-06-26T11:17:26.793" v="197" actId="1036"/>
          <ac:spMkLst>
            <pc:docMk/>
            <pc:sldMk cId="2941204618" sldId="2147483419"/>
            <ac:spMk id="7" creationId="{0CD1FB89-B79A-68F5-F382-C74873F11F94}"/>
          </ac:spMkLst>
        </pc:spChg>
        <pc:picChg chg="add mod">
          <ac:chgData name="Munarriz Herrador Iñaki" userId="11637121-8aee-420b-9db7-54651cb06796" providerId="ADAL" clId="{CAB74CB7-6DA4-4355-94E7-F63F4DFDD9E9}" dt="2025-06-26T11:17:26.793" v="197" actId="1036"/>
          <ac:picMkLst>
            <pc:docMk/>
            <pc:sldMk cId="2941204618" sldId="2147483419"/>
            <ac:picMk id="5" creationId="{4D1EDF14-CCA4-534C-F6B7-7F07814413D3}"/>
          </ac:picMkLst>
        </pc:picChg>
      </pc:sldChg>
      <pc:sldChg chg="addSp delSp modSp add mod ord">
        <pc:chgData name="Munarriz Herrador Iñaki" userId="11637121-8aee-420b-9db7-54651cb06796" providerId="ADAL" clId="{CAB74CB7-6DA4-4355-94E7-F63F4DFDD9E9}" dt="2025-06-27T10:54:35.158" v="1259" actId="20577"/>
        <pc:sldMkLst>
          <pc:docMk/>
          <pc:sldMk cId="2241293320" sldId="2147483420"/>
        </pc:sldMkLst>
        <pc:spChg chg="mod">
          <ac:chgData name="Munarriz Herrador Iñaki" userId="11637121-8aee-420b-9db7-54651cb06796" providerId="ADAL" clId="{CAB74CB7-6DA4-4355-94E7-F63F4DFDD9E9}" dt="2025-06-27T10:54:35.158" v="1259" actId="20577"/>
          <ac:spMkLst>
            <pc:docMk/>
            <pc:sldMk cId="2241293320" sldId="2147483420"/>
            <ac:spMk id="2" creationId="{62748080-A24C-C8C7-404B-5CE92FB764D3}"/>
          </ac:spMkLst>
        </pc:spChg>
        <pc:spChg chg="mod">
          <ac:chgData name="Munarriz Herrador Iñaki" userId="11637121-8aee-420b-9db7-54651cb06796" providerId="ADAL" clId="{CAB74CB7-6DA4-4355-94E7-F63F4DFDD9E9}" dt="2025-06-26T11:10:22.181" v="106" actId="20577"/>
          <ac:spMkLst>
            <pc:docMk/>
            <pc:sldMk cId="2241293320" sldId="2147483420"/>
            <ac:spMk id="4" creationId="{DE110A49-BF26-C4C7-616A-D4DC80F98B09}"/>
          </ac:spMkLst>
        </pc:spChg>
        <pc:spChg chg="mod">
          <ac:chgData name="Munarriz Herrador Iñaki" userId="11637121-8aee-420b-9db7-54651cb06796" providerId="ADAL" clId="{CAB74CB7-6DA4-4355-94E7-F63F4DFDD9E9}" dt="2025-06-26T11:10:59.748" v="124" actId="20577"/>
          <ac:spMkLst>
            <pc:docMk/>
            <pc:sldMk cId="2241293320" sldId="2147483420"/>
            <ac:spMk id="6" creationId="{FF637865-3E85-3203-374B-2C19432A6B73}"/>
          </ac:spMkLst>
        </pc:spChg>
        <pc:spChg chg="add mod">
          <ac:chgData name="Munarriz Herrador Iñaki" userId="11637121-8aee-420b-9db7-54651cb06796" providerId="ADAL" clId="{CAB74CB7-6DA4-4355-94E7-F63F4DFDD9E9}" dt="2025-06-26T11:18:28.987" v="203" actId="6549"/>
          <ac:spMkLst>
            <pc:docMk/>
            <pc:sldMk cId="2241293320" sldId="2147483420"/>
            <ac:spMk id="7" creationId="{FCE7AFCD-8BA0-57CC-92DA-5259FF6D04FC}"/>
          </ac:spMkLst>
        </pc:spChg>
        <pc:picChg chg="add mod">
          <ac:chgData name="Munarriz Herrador Iñaki" userId="11637121-8aee-420b-9db7-54651cb06796" providerId="ADAL" clId="{CAB74CB7-6DA4-4355-94E7-F63F4DFDD9E9}" dt="2025-06-26T11:11:28.295" v="129" actId="1076"/>
          <ac:picMkLst>
            <pc:docMk/>
            <pc:sldMk cId="2241293320" sldId="2147483420"/>
            <ac:picMk id="3" creationId="{02727842-869A-D89F-AE34-3F046A0C9917}"/>
          </ac:picMkLst>
        </pc:picChg>
      </pc:sldChg>
      <pc:sldChg chg="addSp delSp modSp add mod">
        <pc:chgData name="Munarriz Herrador Iñaki" userId="11637121-8aee-420b-9db7-54651cb06796" providerId="ADAL" clId="{CAB74CB7-6DA4-4355-94E7-F63F4DFDD9E9}" dt="2025-06-27T10:54:38.456" v="1260" actId="20577"/>
        <pc:sldMkLst>
          <pc:docMk/>
          <pc:sldMk cId="3338159658" sldId="2147483421"/>
        </pc:sldMkLst>
        <pc:spChg chg="mod">
          <ac:chgData name="Munarriz Herrador Iñaki" userId="11637121-8aee-420b-9db7-54651cb06796" providerId="ADAL" clId="{CAB74CB7-6DA4-4355-94E7-F63F4DFDD9E9}" dt="2025-06-27T10:54:38.456" v="1260" actId="20577"/>
          <ac:spMkLst>
            <pc:docMk/>
            <pc:sldMk cId="3338159658" sldId="2147483421"/>
            <ac:spMk id="2" creationId="{3B37F899-FA53-4C24-4646-4B6B9E903329}"/>
          </ac:spMkLst>
        </pc:spChg>
        <pc:spChg chg="mod">
          <ac:chgData name="Munarriz Herrador Iñaki" userId="11637121-8aee-420b-9db7-54651cb06796" providerId="ADAL" clId="{CAB74CB7-6DA4-4355-94E7-F63F4DFDD9E9}" dt="2025-06-26T11:25:59.919" v="230" actId="20577"/>
          <ac:spMkLst>
            <pc:docMk/>
            <pc:sldMk cId="3338159658" sldId="2147483421"/>
            <ac:spMk id="4" creationId="{0F66483D-300F-864B-E899-DF51DDBEE45B}"/>
          </ac:spMkLst>
        </pc:spChg>
        <pc:spChg chg="mod">
          <ac:chgData name="Munarriz Herrador Iñaki" userId="11637121-8aee-420b-9db7-54651cb06796" providerId="ADAL" clId="{CAB74CB7-6DA4-4355-94E7-F63F4DFDD9E9}" dt="2025-06-26T11:27:35.455" v="247" actId="20577"/>
          <ac:spMkLst>
            <pc:docMk/>
            <pc:sldMk cId="3338159658" sldId="2147483421"/>
            <ac:spMk id="6" creationId="{1066E964-838A-CADB-44E4-9CC80E76975A}"/>
          </ac:spMkLst>
        </pc:spChg>
        <pc:spChg chg="mod">
          <ac:chgData name="Munarriz Herrador Iñaki" userId="11637121-8aee-420b-9db7-54651cb06796" providerId="ADAL" clId="{CAB74CB7-6DA4-4355-94E7-F63F4DFDD9E9}" dt="2025-06-26T11:23:59.233" v="224" actId="20577"/>
          <ac:spMkLst>
            <pc:docMk/>
            <pc:sldMk cId="3338159658" sldId="2147483421"/>
            <ac:spMk id="7" creationId="{2C231F40-ED21-060A-0A17-1851668B7FFA}"/>
          </ac:spMkLst>
        </pc:spChg>
        <pc:picChg chg="add mod">
          <ac:chgData name="Munarriz Herrador Iñaki" userId="11637121-8aee-420b-9db7-54651cb06796" providerId="ADAL" clId="{CAB74CB7-6DA4-4355-94E7-F63F4DFDD9E9}" dt="2025-06-26T11:24:44.818" v="229" actId="1076"/>
          <ac:picMkLst>
            <pc:docMk/>
            <pc:sldMk cId="3338159658" sldId="2147483421"/>
            <ac:picMk id="8" creationId="{62275A97-C768-96AB-7B0B-CE25F3EE487B}"/>
          </ac:picMkLst>
        </pc:picChg>
      </pc:sldChg>
      <pc:sldChg chg="addSp delSp modSp add mod">
        <pc:chgData name="Munarriz Herrador Iñaki" userId="11637121-8aee-420b-9db7-54651cb06796" providerId="ADAL" clId="{CAB74CB7-6DA4-4355-94E7-F63F4DFDD9E9}" dt="2025-06-27T10:54:40.642" v="1261" actId="20577"/>
        <pc:sldMkLst>
          <pc:docMk/>
          <pc:sldMk cId="2221249643" sldId="2147483422"/>
        </pc:sldMkLst>
        <pc:spChg chg="mod">
          <ac:chgData name="Munarriz Herrador Iñaki" userId="11637121-8aee-420b-9db7-54651cb06796" providerId="ADAL" clId="{CAB74CB7-6DA4-4355-94E7-F63F4DFDD9E9}" dt="2025-06-27T10:54:40.642" v="1261" actId="20577"/>
          <ac:spMkLst>
            <pc:docMk/>
            <pc:sldMk cId="2221249643" sldId="2147483422"/>
            <ac:spMk id="2" creationId="{9D2F6C1D-FEDC-702C-5020-F94D872F3968}"/>
          </ac:spMkLst>
        </pc:spChg>
        <pc:spChg chg="mod">
          <ac:chgData name="Munarriz Herrador Iñaki" userId="11637121-8aee-420b-9db7-54651cb06796" providerId="ADAL" clId="{CAB74CB7-6DA4-4355-94E7-F63F4DFDD9E9}" dt="2025-06-26T11:31:57.705" v="254"/>
          <ac:spMkLst>
            <pc:docMk/>
            <pc:sldMk cId="2221249643" sldId="2147483422"/>
            <ac:spMk id="4" creationId="{D808C393-A724-2032-9DE8-0B1B1BCFE463}"/>
          </ac:spMkLst>
        </pc:spChg>
        <pc:spChg chg="mod">
          <ac:chgData name="Munarriz Herrador Iñaki" userId="11637121-8aee-420b-9db7-54651cb06796" providerId="ADAL" clId="{CAB74CB7-6DA4-4355-94E7-F63F4DFDD9E9}" dt="2025-06-26T11:32:26.242" v="264" actId="113"/>
          <ac:spMkLst>
            <pc:docMk/>
            <pc:sldMk cId="2221249643" sldId="2147483422"/>
            <ac:spMk id="6" creationId="{646AC361-A9CD-B09B-FD22-3A537C56C047}"/>
          </ac:spMkLst>
        </pc:spChg>
        <pc:spChg chg="mod">
          <ac:chgData name="Munarriz Herrador Iñaki" userId="11637121-8aee-420b-9db7-54651cb06796" providerId="ADAL" clId="{CAB74CB7-6DA4-4355-94E7-F63F4DFDD9E9}" dt="2025-06-26T11:33:10.529" v="271" actId="6549"/>
          <ac:spMkLst>
            <pc:docMk/>
            <pc:sldMk cId="2221249643" sldId="2147483422"/>
            <ac:spMk id="7" creationId="{F411F693-FDAB-4FEE-A7CF-AF434D3FE9C7}"/>
          </ac:spMkLst>
        </pc:spChg>
        <pc:picChg chg="add mod">
          <ac:chgData name="Munarriz Herrador Iñaki" userId="11637121-8aee-420b-9db7-54651cb06796" providerId="ADAL" clId="{CAB74CB7-6DA4-4355-94E7-F63F4DFDD9E9}" dt="2025-06-26T11:32:53.394" v="268" actId="14100"/>
          <ac:picMkLst>
            <pc:docMk/>
            <pc:sldMk cId="2221249643" sldId="2147483422"/>
            <ac:picMk id="5" creationId="{FB74B5AD-8782-57C1-6BCA-E3CC614CE1B7}"/>
          </ac:picMkLst>
        </pc:picChg>
      </pc:sldChg>
      <pc:sldChg chg="addSp delSp modSp add mod ord">
        <pc:chgData name="Munarriz Herrador Iñaki" userId="11637121-8aee-420b-9db7-54651cb06796" providerId="ADAL" clId="{CAB74CB7-6DA4-4355-94E7-F63F4DFDD9E9}" dt="2025-06-27T11:31:56.722" v="1340" actId="20577"/>
        <pc:sldMkLst>
          <pc:docMk/>
          <pc:sldMk cId="2604043654" sldId="2147483423"/>
        </pc:sldMkLst>
        <pc:spChg chg="mod">
          <ac:chgData name="Munarriz Herrador Iñaki" userId="11637121-8aee-420b-9db7-54651cb06796" providerId="ADAL" clId="{CAB74CB7-6DA4-4355-94E7-F63F4DFDD9E9}" dt="2025-06-27T10:54:28.618" v="1257" actId="20577"/>
          <ac:spMkLst>
            <pc:docMk/>
            <pc:sldMk cId="2604043654" sldId="2147483423"/>
            <ac:spMk id="2" creationId="{C8035EEC-9AC8-B71D-AB5F-8B13BF6A5FF3}"/>
          </ac:spMkLst>
        </pc:spChg>
        <pc:spChg chg="mod">
          <ac:chgData name="Munarriz Herrador Iñaki" userId="11637121-8aee-420b-9db7-54651cb06796" providerId="ADAL" clId="{CAB74CB7-6DA4-4355-94E7-F63F4DFDD9E9}" dt="2025-06-27T11:31:56.722" v="1340" actId="20577"/>
          <ac:spMkLst>
            <pc:docMk/>
            <pc:sldMk cId="2604043654" sldId="2147483423"/>
            <ac:spMk id="4" creationId="{8D235F53-2B5B-5D30-E390-E1F1E98DDD46}"/>
          </ac:spMkLst>
        </pc:spChg>
        <pc:spChg chg="mod">
          <ac:chgData name="Munarriz Herrador Iñaki" userId="11637121-8aee-420b-9db7-54651cb06796" providerId="ADAL" clId="{CAB74CB7-6DA4-4355-94E7-F63F4DFDD9E9}" dt="2025-06-27T11:31:43.940" v="1338" actId="113"/>
          <ac:spMkLst>
            <pc:docMk/>
            <pc:sldMk cId="2604043654" sldId="2147483423"/>
            <ac:spMk id="6" creationId="{7F3A3E6B-049F-605D-9A22-A38D364AFB3E}"/>
          </ac:spMkLst>
        </pc:spChg>
        <pc:spChg chg="mod">
          <ac:chgData name="Munarriz Herrador Iñaki" userId="11637121-8aee-420b-9db7-54651cb06796" providerId="ADAL" clId="{CAB74CB7-6DA4-4355-94E7-F63F4DFDD9E9}" dt="2025-06-27T10:24:59.489" v="1177" actId="1036"/>
          <ac:spMkLst>
            <pc:docMk/>
            <pc:sldMk cId="2604043654" sldId="2147483423"/>
            <ac:spMk id="7" creationId="{2C7BA4D6-FEDC-25EB-0371-FF4CD00D153F}"/>
          </ac:spMkLst>
        </pc:spChg>
        <pc:picChg chg="add mod">
          <ac:chgData name="Munarriz Herrador Iñaki" userId="11637121-8aee-420b-9db7-54651cb06796" providerId="ADAL" clId="{CAB74CB7-6DA4-4355-94E7-F63F4DFDD9E9}" dt="2025-06-27T10:24:59.489" v="1177" actId="1036"/>
          <ac:picMkLst>
            <pc:docMk/>
            <pc:sldMk cId="2604043654" sldId="2147483423"/>
            <ac:picMk id="9" creationId="{7680BB46-9CF4-5CCD-8C3C-3D5008B58082}"/>
          </ac:picMkLst>
        </pc:picChg>
      </pc:sldChg>
      <pc:sldChg chg="addSp delSp modSp add del mod">
        <pc:chgData name="Munarriz Herrador Iñaki" userId="11637121-8aee-420b-9db7-54651cb06796" providerId="ADAL" clId="{CAB74CB7-6DA4-4355-94E7-F63F4DFDD9E9}" dt="2025-06-27T08:53:16.995" v="830" actId="47"/>
        <pc:sldMkLst>
          <pc:docMk/>
          <pc:sldMk cId="1092868967" sldId="2147483424"/>
        </pc:sldMkLst>
      </pc:sldChg>
      <pc:sldChg chg="addSp delSp modSp add mod">
        <pc:chgData name="Munarriz Herrador Iñaki" userId="11637121-8aee-420b-9db7-54651cb06796" providerId="ADAL" clId="{CAB74CB7-6DA4-4355-94E7-F63F4DFDD9E9}" dt="2025-06-27T08:37:13.127" v="777" actId="693"/>
        <pc:sldMkLst>
          <pc:docMk/>
          <pc:sldMk cId="4052193775" sldId="2147483425"/>
        </pc:sldMkLst>
        <pc:spChg chg="mod">
          <ac:chgData name="Munarriz Herrador Iñaki" userId="11637121-8aee-420b-9db7-54651cb06796" providerId="ADAL" clId="{CAB74CB7-6DA4-4355-94E7-F63F4DFDD9E9}" dt="2025-06-26T16:46:13.944" v="611" actId="20577"/>
          <ac:spMkLst>
            <pc:docMk/>
            <pc:sldMk cId="4052193775" sldId="2147483425"/>
            <ac:spMk id="2" creationId="{9E0CA661-A3CD-00A8-76B0-37D044EE79BC}"/>
          </ac:spMkLst>
        </pc:spChg>
        <pc:spChg chg="mod">
          <ac:chgData name="Munarriz Herrador Iñaki" userId="11637121-8aee-420b-9db7-54651cb06796" providerId="ADAL" clId="{CAB74CB7-6DA4-4355-94E7-F63F4DFDD9E9}" dt="2025-06-27T08:36:24.132" v="758" actId="14100"/>
          <ac:spMkLst>
            <pc:docMk/>
            <pc:sldMk cId="4052193775" sldId="2147483425"/>
            <ac:spMk id="6" creationId="{3B21D5C8-2E81-D7A0-C9FE-DF1A7F622938}"/>
          </ac:spMkLst>
        </pc:spChg>
        <pc:spChg chg="add mod">
          <ac:chgData name="Munarriz Herrador Iñaki" userId="11637121-8aee-420b-9db7-54651cb06796" providerId="ADAL" clId="{CAB74CB7-6DA4-4355-94E7-F63F4DFDD9E9}" dt="2025-06-27T08:37:13.127" v="777" actId="693"/>
          <ac:spMkLst>
            <pc:docMk/>
            <pc:sldMk cId="4052193775" sldId="2147483425"/>
            <ac:spMk id="7" creationId="{507844BC-F6B9-0F35-F10C-F27DEBDC428A}"/>
          </ac:spMkLst>
        </pc:spChg>
        <pc:picChg chg="add mod">
          <ac:chgData name="Munarriz Herrador Iñaki" userId="11637121-8aee-420b-9db7-54651cb06796" providerId="ADAL" clId="{CAB74CB7-6DA4-4355-94E7-F63F4DFDD9E9}" dt="2025-06-27T08:36:33.983" v="760" actId="1076"/>
          <ac:picMkLst>
            <pc:docMk/>
            <pc:sldMk cId="4052193775" sldId="2147483425"/>
            <ac:picMk id="2053" creationId="{D783DC65-FA48-4850-B0B2-789B0A589F0C}"/>
          </ac:picMkLst>
        </pc:picChg>
      </pc:sldChg>
      <pc:sldChg chg="addSp delSp modSp add mod">
        <pc:chgData name="Munarriz Herrador Iñaki" userId="11637121-8aee-420b-9db7-54651cb06796" providerId="ADAL" clId="{CAB74CB7-6DA4-4355-94E7-F63F4DFDD9E9}" dt="2025-06-26T15:30:59.644" v="517" actId="20577"/>
        <pc:sldMkLst>
          <pc:docMk/>
          <pc:sldMk cId="311068668" sldId="2147483426"/>
        </pc:sldMkLst>
        <pc:spChg chg="mod">
          <ac:chgData name="Munarriz Herrador Iñaki" userId="11637121-8aee-420b-9db7-54651cb06796" providerId="ADAL" clId="{CAB74CB7-6DA4-4355-94E7-F63F4DFDD9E9}" dt="2025-06-26T15:30:59.644" v="517" actId="20577"/>
          <ac:spMkLst>
            <pc:docMk/>
            <pc:sldMk cId="311068668" sldId="2147483426"/>
            <ac:spMk id="2" creationId="{000577B3-B33F-570A-41CE-326A44B82D64}"/>
          </ac:spMkLst>
        </pc:spChg>
        <pc:spChg chg="add mod topLvl">
          <ac:chgData name="Munarriz Herrador Iñaki" userId="11637121-8aee-420b-9db7-54651cb06796" providerId="ADAL" clId="{CAB74CB7-6DA4-4355-94E7-F63F4DFDD9E9}" dt="2025-06-26T15:24:28.139" v="466" actId="552"/>
          <ac:spMkLst>
            <pc:docMk/>
            <pc:sldMk cId="311068668" sldId="2147483426"/>
            <ac:spMk id="4" creationId="{D0396E54-F872-23F6-CAE3-E85C039902E7}"/>
          </ac:spMkLst>
        </pc:spChg>
        <pc:spChg chg="add mod topLvl">
          <ac:chgData name="Munarriz Herrador Iñaki" userId="11637121-8aee-420b-9db7-54651cb06796" providerId="ADAL" clId="{CAB74CB7-6DA4-4355-94E7-F63F4DFDD9E9}" dt="2025-06-26T15:24:28.139" v="466" actId="552"/>
          <ac:spMkLst>
            <pc:docMk/>
            <pc:sldMk cId="311068668" sldId="2147483426"/>
            <ac:spMk id="7" creationId="{EBCAF0C1-F009-D61C-1974-E8214714710A}"/>
          </ac:spMkLst>
        </pc:spChg>
        <pc:spChg chg="add mod topLvl">
          <ac:chgData name="Munarriz Herrador Iñaki" userId="11637121-8aee-420b-9db7-54651cb06796" providerId="ADAL" clId="{CAB74CB7-6DA4-4355-94E7-F63F4DFDD9E9}" dt="2025-06-26T15:24:28.139" v="466" actId="552"/>
          <ac:spMkLst>
            <pc:docMk/>
            <pc:sldMk cId="311068668" sldId="2147483426"/>
            <ac:spMk id="9" creationId="{1199EBAE-8348-D69C-0D7B-78047BF9F0C6}"/>
          </ac:spMkLst>
        </pc:spChg>
        <pc:spChg chg="add mod topLvl">
          <ac:chgData name="Munarriz Herrador Iñaki" userId="11637121-8aee-420b-9db7-54651cb06796" providerId="ADAL" clId="{CAB74CB7-6DA4-4355-94E7-F63F4DFDD9E9}" dt="2025-06-26T15:24:28.139" v="466" actId="552"/>
          <ac:spMkLst>
            <pc:docMk/>
            <pc:sldMk cId="311068668" sldId="2147483426"/>
            <ac:spMk id="11" creationId="{D81313EE-CAF7-26F7-5D39-04696EBB22FC}"/>
          </ac:spMkLst>
        </pc:spChg>
        <pc:spChg chg="mod topLvl">
          <ac:chgData name="Munarriz Herrador Iñaki" userId="11637121-8aee-420b-9db7-54651cb06796" providerId="ADAL" clId="{CAB74CB7-6DA4-4355-94E7-F63F4DFDD9E9}" dt="2025-06-26T15:24:28.139" v="466" actId="552"/>
          <ac:spMkLst>
            <pc:docMk/>
            <pc:sldMk cId="311068668" sldId="2147483426"/>
            <ac:spMk id="14" creationId="{1636CEEA-2867-9533-0ACB-183EC1981F57}"/>
          </ac:spMkLst>
        </pc:spChg>
        <pc:picChg chg="add mod topLvl">
          <ac:chgData name="Munarriz Herrador Iñaki" userId="11637121-8aee-420b-9db7-54651cb06796" providerId="ADAL" clId="{CAB74CB7-6DA4-4355-94E7-F63F4DFDD9E9}" dt="2025-06-26T15:24:16.095" v="465" actId="165"/>
          <ac:picMkLst>
            <pc:docMk/>
            <pc:sldMk cId="311068668" sldId="2147483426"/>
            <ac:picMk id="3" creationId="{83758108-E3A1-A748-7CA2-488E1088DD9C}"/>
          </ac:picMkLst>
        </pc:picChg>
        <pc:picChg chg="add mod topLvl">
          <ac:chgData name="Munarriz Herrador Iñaki" userId="11637121-8aee-420b-9db7-54651cb06796" providerId="ADAL" clId="{CAB74CB7-6DA4-4355-94E7-F63F4DFDD9E9}" dt="2025-06-26T15:24:16.095" v="465" actId="165"/>
          <ac:picMkLst>
            <pc:docMk/>
            <pc:sldMk cId="311068668" sldId="2147483426"/>
            <ac:picMk id="5" creationId="{708FFD78-D80D-6AC7-A109-0E2F2D92D5C1}"/>
          </ac:picMkLst>
        </pc:picChg>
        <pc:picChg chg="add mod topLvl">
          <ac:chgData name="Munarriz Herrador Iñaki" userId="11637121-8aee-420b-9db7-54651cb06796" providerId="ADAL" clId="{CAB74CB7-6DA4-4355-94E7-F63F4DFDD9E9}" dt="2025-06-26T15:24:16.095" v="465" actId="165"/>
          <ac:picMkLst>
            <pc:docMk/>
            <pc:sldMk cId="311068668" sldId="2147483426"/>
            <ac:picMk id="8" creationId="{290CE095-BBE4-C3F0-C269-E130055DEC77}"/>
          </ac:picMkLst>
        </pc:picChg>
        <pc:picChg chg="add mod topLvl">
          <ac:chgData name="Munarriz Herrador Iñaki" userId="11637121-8aee-420b-9db7-54651cb06796" providerId="ADAL" clId="{CAB74CB7-6DA4-4355-94E7-F63F4DFDD9E9}" dt="2025-06-26T15:24:16.095" v="465" actId="165"/>
          <ac:picMkLst>
            <pc:docMk/>
            <pc:sldMk cId="311068668" sldId="2147483426"/>
            <ac:picMk id="10" creationId="{6AFFC60F-2ACB-B9ED-725D-80F352E2705A}"/>
          </ac:picMkLst>
        </pc:picChg>
        <pc:picChg chg="mod topLvl">
          <ac:chgData name="Munarriz Herrador Iñaki" userId="11637121-8aee-420b-9db7-54651cb06796" providerId="ADAL" clId="{CAB74CB7-6DA4-4355-94E7-F63F4DFDD9E9}" dt="2025-06-26T15:24:16.095" v="465" actId="165"/>
          <ac:picMkLst>
            <pc:docMk/>
            <pc:sldMk cId="311068668" sldId="2147483426"/>
            <ac:picMk id="13" creationId="{B5566A29-886E-8ACC-456C-784C9797A53F}"/>
          </ac:picMkLst>
        </pc:picChg>
        <pc:picChg chg="add mod">
          <ac:chgData name="Munarriz Herrador Iñaki" userId="11637121-8aee-420b-9db7-54651cb06796" providerId="ADAL" clId="{CAB74CB7-6DA4-4355-94E7-F63F4DFDD9E9}" dt="2025-06-26T15:25:49.087" v="471" actId="1076"/>
          <ac:picMkLst>
            <pc:docMk/>
            <pc:sldMk cId="311068668" sldId="2147483426"/>
            <ac:picMk id="21" creationId="{F2BC49CF-C921-AA09-F4AB-D5A6F618C65C}"/>
          </ac:picMkLst>
        </pc:picChg>
      </pc:sldChg>
      <pc:sldChg chg="addSp delSp modSp add mod">
        <pc:chgData name="Munarriz Herrador Iñaki" userId="11637121-8aee-420b-9db7-54651cb06796" providerId="ADAL" clId="{CAB74CB7-6DA4-4355-94E7-F63F4DFDD9E9}" dt="2025-06-27T09:45:13.859" v="1026"/>
        <pc:sldMkLst>
          <pc:docMk/>
          <pc:sldMk cId="3711774561" sldId="2147483427"/>
        </pc:sldMkLst>
        <pc:spChg chg="mod">
          <ac:chgData name="Munarriz Herrador Iñaki" userId="11637121-8aee-420b-9db7-54651cb06796" providerId="ADAL" clId="{CAB74CB7-6DA4-4355-94E7-F63F4DFDD9E9}" dt="2025-06-27T09:33:35.809" v="832" actId="20577"/>
          <ac:spMkLst>
            <pc:docMk/>
            <pc:sldMk cId="3711774561" sldId="2147483427"/>
            <ac:spMk id="2" creationId="{A857DD70-F044-4C82-3106-B38F77D19FAB}"/>
          </ac:spMkLst>
        </pc:spChg>
        <pc:spChg chg="add mod">
          <ac:chgData name="Munarriz Herrador Iñaki" userId="11637121-8aee-420b-9db7-54651cb06796" providerId="ADAL" clId="{CAB74CB7-6DA4-4355-94E7-F63F4DFDD9E9}" dt="2025-06-27T09:45:13.859" v="1026"/>
          <ac:spMkLst>
            <pc:docMk/>
            <pc:sldMk cId="3711774561" sldId="2147483427"/>
            <ac:spMk id="3" creationId="{873D8FB8-7286-2976-8339-A9611079D746}"/>
          </ac:spMkLst>
        </pc:spChg>
        <pc:picChg chg="add mod">
          <ac:chgData name="Munarriz Herrador Iñaki" userId="11637121-8aee-420b-9db7-54651cb06796" providerId="ADAL" clId="{CAB74CB7-6DA4-4355-94E7-F63F4DFDD9E9}" dt="2025-06-27T09:41:14.865" v="977" actId="1076"/>
          <ac:picMkLst>
            <pc:docMk/>
            <pc:sldMk cId="3711774561" sldId="2147483427"/>
            <ac:picMk id="3074" creationId="{81E710DC-E1A0-0C0F-AFC2-83F6CF8F82F0}"/>
          </ac:picMkLst>
        </pc:picChg>
      </pc:sldChg>
      <pc:sldChg chg="add del">
        <pc:chgData name="Munarriz Herrador Iñaki" userId="11637121-8aee-420b-9db7-54651cb06796" providerId="ADAL" clId="{CAB74CB7-6DA4-4355-94E7-F63F4DFDD9E9}" dt="2025-06-26T16:46:39.744" v="612" actId="47"/>
        <pc:sldMkLst>
          <pc:docMk/>
          <pc:sldMk cId="3988699588" sldId="2147483428"/>
        </pc:sldMkLst>
      </pc:sldChg>
      <pc:sldChg chg="addSp delSp modSp add mod">
        <pc:chgData name="Munarriz Herrador Iñaki" userId="11637121-8aee-420b-9db7-54651cb06796" providerId="ADAL" clId="{CAB74CB7-6DA4-4355-94E7-F63F4DFDD9E9}" dt="2025-06-27T08:43:29.798" v="824" actId="20577"/>
        <pc:sldMkLst>
          <pc:docMk/>
          <pc:sldMk cId="2610362918" sldId="2147483429"/>
        </pc:sldMkLst>
        <pc:spChg chg="mod">
          <ac:chgData name="Munarriz Herrador Iñaki" userId="11637121-8aee-420b-9db7-54651cb06796" providerId="ADAL" clId="{CAB74CB7-6DA4-4355-94E7-F63F4DFDD9E9}" dt="2025-06-26T16:46:04.843" v="600"/>
          <ac:spMkLst>
            <pc:docMk/>
            <pc:sldMk cId="2610362918" sldId="2147483429"/>
            <ac:spMk id="2" creationId="{CDD50659-7C2F-6A37-36F5-5B679EBF6144}"/>
          </ac:spMkLst>
        </pc:spChg>
        <pc:spChg chg="mod">
          <ac:chgData name="Munarriz Herrador Iñaki" userId="11637121-8aee-420b-9db7-54651cb06796" providerId="ADAL" clId="{CAB74CB7-6DA4-4355-94E7-F63F4DFDD9E9}" dt="2025-06-27T08:38:18.355" v="793" actId="14100"/>
          <ac:spMkLst>
            <pc:docMk/>
            <pc:sldMk cId="2610362918" sldId="2147483429"/>
            <ac:spMk id="6" creationId="{203F4BF5-AC07-DCAB-FEFC-3C294CF058E5}"/>
          </ac:spMkLst>
        </pc:spChg>
        <pc:spChg chg="add mod">
          <ac:chgData name="Munarriz Herrador Iñaki" userId="11637121-8aee-420b-9db7-54651cb06796" providerId="ADAL" clId="{CAB74CB7-6DA4-4355-94E7-F63F4DFDD9E9}" dt="2025-06-27T08:43:29.798" v="824" actId="20577"/>
          <ac:spMkLst>
            <pc:docMk/>
            <pc:sldMk cId="2610362918" sldId="2147483429"/>
            <ac:spMk id="8" creationId="{17E2CC10-462C-A17F-6BE1-630965DC4E1E}"/>
          </ac:spMkLst>
        </pc:spChg>
        <pc:picChg chg="add mod">
          <ac:chgData name="Munarriz Herrador Iñaki" userId="11637121-8aee-420b-9db7-54651cb06796" providerId="ADAL" clId="{CAB74CB7-6DA4-4355-94E7-F63F4DFDD9E9}" dt="2025-06-27T08:42:51.839" v="812" actId="1076"/>
          <ac:picMkLst>
            <pc:docMk/>
            <pc:sldMk cId="2610362918" sldId="2147483429"/>
            <ac:picMk id="3" creationId="{EC52D2A8-43D1-AAD3-3F56-C162A02EC993}"/>
          </ac:picMkLst>
        </pc:picChg>
        <pc:picChg chg="add mod">
          <ac:chgData name="Munarriz Herrador Iñaki" userId="11637121-8aee-420b-9db7-54651cb06796" providerId="ADAL" clId="{CAB74CB7-6DA4-4355-94E7-F63F4DFDD9E9}" dt="2025-06-27T08:42:50.219" v="811" actId="1076"/>
          <ac:picMkLst>
            <pc:docMk/>
            <pc:sldMk cId="2610362918" sldId="2147483429"/>
            <ac:picMk id="7" creationId="{3E2BAD58-EC0C-64AC-792A-0560325290C3}"/>
          </ac:picMkLst>
        </pc:picChg>
      </pc:sldChg>
      <pc:sldChg chg="addSp modSp add mod">
        <pc:chgData name="Munarriz Herrador Iñaki" userId="11637121-8aee-420b-9db7-54651cb06796" providerId="ADAL" clId="{CAB74CB7-6DA4-4355-94E7-F63F4DFDD9E9}" dt="2025-06-27T08:41:09.408" v="803" actId="1076"/>
        <pc:sldMkLst>
          <pc:docMk/>
          <pc:sldMk cId="2915422796" sldId="2147483430"/>
        </pc:sldMkLst>
        <pc:spChg chg="mod">
          <ac:chgData name="Munarriz Herrador Iñaki" userId="11637121-8aee-420b-9db7-54651cb06796" providerId="ADAL" clId="{CAB74CB7-6DA4-4355-94E7-F63F4DFDD9E9}" dt="2025-06-27T08:37:32.869" v="788" actId="5793"/>
          <ac:spMkLst>
            <pc:docMk/>
            <pc:sldMk cId="2915422796" sldId="2147483430"/>
            <ac:spMk id="2" creationId="{3CB50A5F-B4BA-84D5-1CDB-563F3D5B3435}"/>
          </ac:spMkLst>
        </pc:spChg>
        <pc:spChg chg="add mod">
          <ac:chgData name="Munarriz Herrador Iñaki" userId="11637121-8aee-420b-9db7-54651cb06796" providerId="ADAL" clId="{CAB74CB7-6DA4-4355-94E7-F63F4DFDD9E9}" dt="2025-06-27T08:41:09.408" v="803" actId="1076"/>
          <ac:spMkLst>
            <pc:docMk/>
            <pc:sldMk cId="2915422796" sldId="2147483430"/>
            <ac:spMk id="3" creationId="{2770C854-4364-2D8A-1270-61ABB6CBCDD9}"/>
          </ac:spMkLst>
        </pc:spChg>
        <pc:picChg chg="mod">
          <ac:chgData name="Munarriz Herrador Iñaki" userId="11637121-8aee-420b-9db7-54651cb06796" providerId="ADAL" clId="{CAB74CB7-6DA4-4355-94E7-F63F4DFDD9E9}" dt="2025-06-27T08:40:55.427" v="799" actId="1076"/>
          <ac:picMkLst>
            <pc:docMk/>
            <pc:sldMk cId="2915422796" sldId="2147483430"/>
            <ac:picMk id="5" creationId="{1AF39782-B913-A366-1650-F5662881903D}"/>
          </ac:picMkLst>
        </pc:picChg>
      </pc:sldChg>
      <pc:sldChg chg="addSp modSp add mod">
        <pc:chgData name="Munarriz Herrador Iñaki" userId="11637121-8aee-420b-9db7-54651cb06796" providerId="ADAL" clId="{CAB74CB7-6DA4-4355-94E7-F63F4DFDD9E9}" dt="2025-06-27T09:47:53.936" v="1103" actId="1038"/>
        <pc:sldMkLst>
          <pc:docMk/>
          <pc:sldMk cId="1786951196" sldId="2147483431"/>
        </pc:sldMkLst>
        <pc:spChg chg="mod">
          <ac:chgData name="Munarriz Herrador Iñaki" userId="11637121-8aee-420b-9db7-54651cb06796" providerId="ADAL" clId="{CAB74CB7-6DA4-4355-94E7-F63F4DFDD9E9}" dt="2025-06-27T09:34:42.324" v="875" actId="20577"/>
          <ac:spMkLst>
            <pc:docMk/>
            <pc:sldMk cId="1786951196" sldId="2147483431"/>
            <ac:spMk id="2" creationId="{74EC88D4-29F6-1915-34A0-EE41C4572729}"/>
          </ac:spMkLst>
        </pc:spChg>
        <pc:spChg chg="add mod">
          <ac:chgData name="Munarriz Herrador Iñaki" userId="11637121-8aee-420b-9db7-54651cb06796" providerId="ADAL" clId="{CAB74CB7-6DA4-4355-94E7-F63F4DFDD9E9}" dt="2025-06-27T09:47:53.936" v="1103" actId="1038"/>
          <ac:spMkLst>
            <pc:docMk/>
            <pc:sldMk cId="1786951196" sldId="2147483431"/>
            <ac:spMk id="3" creationId="{0A9D276C-A571-7E2A-4C5C-8EDE1FB2CE33}"/>
          </ac:spMkLst>
        </pc:spChg>
        <pc:spChg chg="add mod">
          <ac:chgData name="Munarriz Herrador Iñaki" userId="11637121-8aee-420b-9db7-54651cb06796" providerId="ADAL" clId="{CAB74CB7-6DA4-4355-94E7-F63F4DFDD9E9}" dt="2025-06-27T09:47:53.936" v="1103" actId="1038"/>
          <ac:spMkLst>
            <pc:docMk/>
            <pc:sldMk cId="1786951196" sldId="2147483431"/>
            <ac:spMk id="4" creationId="{33D59F91-1B15-AB21-4611-F0A5E6D68059}"/>
          </ac:spMkLst>
        </pc:spChg>
        <pc:spChg chg="add mod">
          <ac:chgData name="Munarriz Herrador Iñaki" userId="11637121-8aee-420b-9db7-54651cb06796" providerId="ADAL" clId="{CAB74CB7-6DA4-4355-94E7-F63F4DFDD9E9}" dt="2025-06-27T09:47:53.936" v="1103" actId="1038"/>
          <ac:spMkLst>
            <pc:docMk/>
            <pc:sldMk cId="1786951196" sldId="2147483431"/>
            <ac:spMk id="5" creationId="{882E1569-645B-E0E9-6CC5-ACDA65974A66}"/>
          </ac:spMkLst>
        </pc:spChg>
        <pc:spChg chg="mod">
          <ac:chgData name="Munarriz Herrador Iñaki" userId="11637121-8aee-420b-9db7-54651cb06796" providerId="ADAL" clId="{CAB74CB7-6DA4-4355-94E7-F63F4DFDD9E9}" dt="2025-06-27T09:47:44.849" v="1087" actId="14100"/>
          <ac:spMkLst>
            <pc:docMk/>
            <pc:sldMk cId="1786951196" sldId="2147483431"/>
            <ac:spMk id="6" creationId="{DE4D5B50-1351-28CB-4F5D-0070EA0F075C}"/>
          </ac:spMkLst>
        </pc:spChg>
      </pc:sldChg>
    </pc:docChg>
  </pc:docChgLst>
  <pc:docChgLst>
    <pc:chgData name="Munarriz Herrador Iñaki" userId="11637121-8aee-420b-9db7-54651cb06796" providerId="ADAL" clId="{2C3D0F59-EDFA-4449-90D5-79281DD6DAB5}"/>
    <pc:docChg chg="undo custSel addSld delSld modSld sldOrd modSection">
      <pc:chgData name="Munarriz Herrador Iñaki" userId="11637121-8aee-420b-9db7-54651cb06796" providerId="ADAL" clId="{2C3D0F59-EDFA-4449-90D5-79281DD6DAB5}" dt="2025-01-27T16:09:21.311" v="5151" actId="1076"/>
      <pc:docMkLst>
        <pc:docMk/>
      </pc:docMkLst>
      <pc:sldChg chg="del">
        <pc:chgData name="Munarriz Herrador Iñaki" userId="11637121-8aee-420b-9db7-54651cb06796" providerId="ADAL" clId="{2C3D0F59-EDFA-4449-90D5-79281DD6DAB5}" dt="2025-01-24T12:34:43.372" v="4172" actId="47"/>
        <pc:sldMkLst>
          <pc:docMk/>
          <pc:sldMk cId="1616658181" sldId="806"/>
        </pc:sldMkLst>
      </pc:sldChg>
      <pc:sldChg chg="del">
        <pc:chgData name="Munarriz Herrador Iñaki" userId="11637121-8aee-420b-9db7-54651cb06796" providerId="ADAL" clId="{2C3D0F59-EDFA-4449-90D5-79281DD6DAB5}" dt="2025-01-24T12:34:43.372" v="4172" actId="47"/>
        <pc:sldMkLst>
          <pc:docMk/>
          <pc:sldMk cId="128532313" sldId="827"/>
        </pc:sldMkLst>
      </pc:sldChg>
      <pc:sldChg chg="del">
        <pc:chgData name="Munarriz Herrador Iñaki" userId="11637121-8aee-420b-9db7-54651cb06796" providerId="ADAL" clId="{2C3D0F59-EDFA-4449-90D5-79281DD6DAB5}" dt="2025-01-24T12:34:43.372" v="4172" actId="47"/>
        <pc:sldMkLst>
          <pc:docMk/>
          <pc:sldMk cId="3904767837" sldId="828"/>
        </pc:sldMkLst>
      </pc:sldChg>
      <pc:sldChg chg="del">
        <pc:chgData name="Munarriz Herrador Iñaki" userId="11637121-8aee-420b-9db7-54651cb06796" providerId="ADAL" clId="{2C3D0F59-EDFA-4449-90D5-79281DD6DAB5}" dt="2025-01-24T12:34:43.372" v="4172" actId="47"/>
        <pc:sldMkLst>
          <pc:docMk/>
          <pc:sldMk cId="1054402032" sldId="829"/>
        </pc:sldMkLst>
      </pc:sldChg>
      <pc:sldChg chg="del">
        <pc:chgData name="Munarriz Herrador Iñaki" userId="11637121-8aee-420b-9db7-54651cb06796" providerId="ADAL" clId="{2C3D0F59-EDFA-4449-90D5-79281DD6DAB5}" dt="2025-01-24T12:34:43.372" v="4172" actId="47"/>
        <pc:sldMkLst>
          <pc:docMk/>
          <pc:sldMk cId="3474182341" sldId="830"/>
        </pc:sldMkLst>
      </pc:sldChg>
      <pc:sldChg chg="modSp mod">
        <pc:chgData name="Munarriz Herrador Iñaki" userId="11637121-8aee-420b-9db7-54651cb06796" providerId="ADAL" clId="{2C3D0F59-EDFA-4449-90D5-79281DD6DAB5}" dt="2025-01-23T16:08:53.805" v="1171" actId="20577"/>
        <pc:sldMkLst>
          <pc:docMk/>
          <pc:sldMk cId="0" sldId="2147483315"/>
        </pc:sldMkLst>
      </pc:sldChg>
      <pc:sldChg chg="del">
        <pc:chgData name="Munarriz Herrador Iñaki" userId="11637121-8aee-420b-9db7-54651cb06796" providerId="ADAL" clId="{2C3D0F59-EDFA-4449-90D5-79281DD6DAB5}" dt="2025-01-24T12:34:43.372" v="4172" actId="47"/>
        <pc:sldMkLst>
          <pc:docMk/>
          <pc:sldMk cId="837960401" sldId="2147483316"/>
        </pc:sldMkLst>
      </pc:sldChg>
      <pc:sldChg chg="del">
        <pc:chgData name="Munarriz Herrador Iñaki" userId="11637121-8aee-420b-9db7-54651cb06796" providerId="ADAL" clId="{2C3D0F59-EDFA-4449-90D5-79281DD6DAB5}" dt="2025-01-24T12:34:43.372" v="4172" actId="47"/>
        <pc:sldMkLst>
          <pc:docMk/>
          <pc:sldMk cId="402773593" sldId="2147483317"/>
        </pc:sldMkLst>
      </pc:sldChg>
      <pc:sldChg chg="del">
        <pc:chgData name="Munarriz Herrador Iñaki" userId="11637121-8aee-420b-9db7-54651cb06796" providerId="ADAL" clId="{2C3D0F59-EDFA-4449-90D5-79281DD6DAB5}" dt="2025-01-24T12:34:43.372" v="4172" actId="47"/>
        <pc:sldMkLst>
          <pc:docMk/>
          <pc:sldMk cId="3749504679" sldId="2147483318"/>
        </pc:sldMkLst>
      </pc:sldChg>
      <pc:sldChg chg="modSp add del mod">
        <pc:chgData name="Munarriz Herrador Iñaki" userId="11637121-8aee-420b-9db7-54651cb06796" providerId="ADAL" clId="{2C3D0F59-EDFA-4449-90D5-79281DD6DAB5}" dt="2025-01-23T15:43:06.260" v="393" actId="47"/>
        <pc:sldMkLst>
          <pc:docMk/>
          <pc:sldMk cId="548997039" sldId="2147483371"/>
        </pc:sldMkLst>
      </pc:sldChg>
      <pc:sldChg chg="addSp delSp modSp add mod">
        <pc:chgData name="Munarriz Herrador Iñaki" userId="11637121-8aee-420b-9db7-54651cb06796" providerId="ADAL" clId="{2C3D0F59-EDFA-4449-90D5-79281DD6DAB5}" dt="2025-01-24T12:25:53.088" v="4071" actId="20577"/>
        <pc:sldMkLst>
          <pc:docMk/>
          <pc:sldMk cId="88093545" sldId="2147483372"/>
        </pc:sldMkLst>
      </pc:sldChg>
      <pc:sldChg chg="addSp delSp modSp add mod ord">
        <pc:chgData name="Munarriz Herrador Iñaki" userId="11637121-8aee-420b-9db7-54651cb06796" providerId="ADAL" clId="{2C3D0F59-EDFA-4449-90D5-79281DD6DAB5}" dt="2025-01-24T13:14:45.156" v="4213" actId="113"/>
        <pc:sldMkLst>
          <pc:docMk/>
          <pc:sldMk cId="1243781170" sldId="2147483373"/>
        </pc:sldMkLst>
      </pc:sldChg>
      <pc:sldChg chg="new del">
        <pc:chgData name="Munarriz Herrador Iñaki" userId="11637121-8aee-420b-9db7-54651cb06796" providerId="ADAL" clId="{2C3D0F59-EDFA-4449-90D5-79281DD6DAB5}" dt="2025-01-23T15:36:40.221" v="285" actId="47"/>
        <pc:sldMkLst>
          <pc:docMk/>
          <pc:sldMk cId="1270524578" sldId="2147483373"/>
        </pc:sldMkLst>
      </pc:sldChg>
      <pc:sldChg chg="addSp delSp modSp add mod setBg">
        <pc:chgData name="Munarriz Herrador Iñaki" userId="11637121-8aee-420b-9db7-54651cb06796" providerId="ADAL" clId="{2C3D0F59-EDFA-4449-90D5-79281DD6DAB5}" dt="2025-01-27T08:15:27.464" v="4360" actId="1076"/>
        <pc:sldMkLst>
          <pc:docMk/>
          <pc:sldMk cId="3267060004" sldId="2147483374"/>
        </pc:sldMkLst>
      </pc:sldChg>
      <pc:sldChg chg="addSp delSp modSp add mod">
        <pc:chgData name="Munarriz Herrador Iñaki" userId="11637121-8aee-420b-9db7-54651cb06796" providerId="ADAL" clId="{2C3D0F59-EDFA-4449-90D5-79281DD6DAB5}" dt="2025-01-24T11:12:21.600" v="3175" actId="14100"/>
        <pc:sldMkLst>
          <pc:docMk/>
          <pc:sldMk cId="61861682" sldId="2147483375"/>
        </pc:sldMkLst>
      </pc:sldChg>
      <pc:sldChg chg="addSp modSp add del mod">
        <pc:chgData name="Munarriz Herrador Iñaki" userId="11637121-8aee-420b-9db7-54651cb06796" providerId="ADAL" clId="{2C3D0F59-EDFA-4449-90D5-79281DD6DAB5}" dt="2025-01-24T12:05:01.666" v="3805" actId="47"/>
        <pc:sldMkLst>
          <pc:docMk/>
          <pc:sldMk cId="1239163435" sldId="2147483376"/>
        </pc:sldMkLst>
      </pc:sldChg>
      <pc:sldChg chg="addSp modSp add del mod">
        <pc:chgData name="Munarriz Herrador Iñaki" userId="11637121-8aee-420b-9db7-54651cb06796" providerId="ADAL" clId="{2C3D0F59-EDFA-4449-90D5-79281DD6DAB5}" dt="2025-01-24T12:26:12.179" v="4072" actId="47"/>
        <pc:sldMkLst>
          <pc:docMk/>
          <pc:sldMk cId="3161292302" sldId="2147483377"/>
        </pc:sldMkLst>
      </pc:sldChg>
      <pc:sldChg chg="addSp modSp add mod">
        <pc:chgData name="Munarriz Herrador Iñaki" userId="11637121-8aee-420b-9db7-54651cb06796" providerId="ADAL" clId="{2C3D0F59-EDFA-4449-90D5-79281DD6DAB5}" dt="2025-01-27T11:32:34.245" v="4838" actId="20577"/>
        <pc:sldMkLst>
          <pc:docMk/>
          <pc:sldMk cId="3116799561" sldId="2147483378"/>
        </pc:sldMkLst>
      </pc:sldChg>
      <pc:sldChg chg="addSp delSp modSp add mod">
        <pc:chgData name="Munarriz Herrador Iñaki" userId="11637121-8aee-420b-9db7-54651cb06796" providerId="ADAL" clId="{2C3D0F59-EDFA-4449-90D5-79281DD6DAB5}" dt="2025-01-24T13:13:41.478" v="4205" actId="113"/>
        <pc:sldMkLst>
          <pc:docMk/>
          <pc:sldMk cId="2818866366" sldId="2147483379"/>
        </pc:sldMkLst>
      </pc:sldChg>
      <pc:sldChg chg="addSp delSp modSp add mod">
        <pc:chgData name="Munarriz Herrador Iñaki" userId="11637121-8aee-420b-9db7-54651cb06796" providerId="ADAL" clId="{2C3D0F59-EDFA-4449-90D5-79281DD6DAB5}" dt="2025-01-24T13:30:37.129" v="4289" actId="20577"/>
        <pc:sldMkLst>
          <pc:docMk/>
          <pc:sldMk cId="2837213026" sldId="2147483380"/>
        </pc:sldMkLst>
      </pc:sldChg>
      <pc:sldChg chg="addSp delSp modSp add del mod">
        <pc:chgData name="Munarriz Herrador Iñaki" userId="11637121-8aee-420b-9db7-54651cb06796" providerId="ADAL" clId="{2C3D0F59-EDFA-4449-90D5-79281DD6DAB5}" dt="2025-01-24T12:05:00.683" v="3804" actId="47"/>
        <pc:sldMkLst>
          <pc:docMk/>
          <pc:sldMk cId="2583614594" sldId="2147483381"/>
        </pc:sldMkLst>
      </pc:sldChg>
      <pc:sldChg chg="addSp delSp modSp add del mod">
        <pc:chgData name="Munarriz Herrador Iñaki" userId="11637121-8aee-420b-9db7-54651cb06796" providerId="ADAL" clId="{2C3D0F59-EDFA-4449-90D5-79281DD6DAB5}" dt="2025-01-24T09:26:06.545" v="2976" actId="47"/>
        <pc:sldMkLst>
          <pc:docMk/>
          <pc:sldMk cId="2527052421" sldId="2147483382"/>
        </pc:sldMkLst>
      </pc:sldChg>
      <pc:sldChg chg="addSp delSp modSp add del mod">
        <pc:chgData name="Munarriz Herrador Iñaki" userId="11637121-8aee-420b-9db7-54651cb06796" providerId="ADAL" clId="{2C3D0F59-EDFA-4449-90D5-79281DD6DAB5}" dt="2025-01-24T09:26:02.470" v="2975" actId="47"/>
        <pc:sldMkLst>
          <pc:docMk/>
          <pc:sldMk cId="4122967616" sldId="2147483383"/>
        </pc:sldMkLst>
      </pc:sldChg>
      <pc:sldChg chg="addSp delSp modSp add mod">
        <pc:chgData name="Munarriz Herrador Iñaki" userId="11637121-8aee-420b-9db7-54651cb06796" providerId="ADAL" clId="{2C3D0F59-EDFA-4449-90D5-79281DD6DAB5}" dt="2025-01-27T11:30:24.482" v="4723" actId="20577"/>
        <pc:sldMkLst>
          <pc:docMk/>
          <pc:sldMk cId="2100245951" sldId="2147483384"/>
        </pc:sldMkLst>
      </pc:sldChg>
      <pc:sldChg chg="addSp modSp add del mod">
        <pc:chgData name="Munarriz Herrador Iñaki" userId="11637121-8aee-420b-9db7-54651cb06796" providerId="ADAL" clId="{2C3D0F59-EDFA-4449-90D5-79281DD6DAB5}" dt="2025-01-27T12:14:43.207" v="5128" actId="47"/>
        <pc:sldMkLst>
          <pc:docMk/>
          <pc:sldMk cId="1402537860" sldId="2147483385"/>
        </pc:sldMkLst>
      </pc:sldChg>
      <pc:sldChg chg="addSp delSp modSp add mod ord">
        <pc:chgData name="Munarriz Herrador Iñaki" userId="11637121-8aee-420b-9db7-54651cb06796" providerId="ADAL" clId="{2C3D0F59-EDFA-4449-90D5-79281DD6DAB5}" dt="2025-01-27T12:14:51.140" v="5129" actId="14100"/>
        <pc:sldMkLst>
          <pc:docMk/>
          <pc:sldMk cId="2201393827" sldId="2147483386"/>
        </pc:sldMkLst>
      </pc:sldChg>
      <pc:sldChg chg="addSp delSp modSp add mod">
        <pc:chgData name="Munarriz Herrador Iñaki" userId="11637121-8aee-420b-9db7-54651cb06796" providerId="ADAL" clId="{2C3D0F59-EDFA-4449-90D5-79281DD6DAB5}" dt="2025-01-27T16:09:21.311" v="5151" actId="1076"/>
        <pc:sldMkLst>
          <pc:docMk/>
          <pc:sldMk cId="1177571145" sldId="2147483387"/>
        </pc:sldMkLst>
      </pc:sldChg>
    </pc:docChg>
  </pc:docChgLst>
  <pc:docChgLst>
    <pc:chgData name="Munarriz Herrador Iñaki" userId="11637121-8aee-420b-9db7-54651cb06796" providerId="ADAL" clId="{028FF6F6-5B42-4493-A926-90FAA58B796E}"/>
    <pc:docChg chg="undo redo custSel addSld delSld modSld sldOrd modSection">
      <pc:chgData name="Munarriz Herrador Iñaki" userId="11637121-8aee-420b-9db7-54651cb06796" providerId="ADAL" clId="{028FF6F6-5B42-4493-A926-90FAA58B796E}" dt="2025-03-20T14:51:52.641" v="3792"/>
      <pc:docMkLst>
        <pc:docMk/>
      </pc:docMkLst>
      <pc:sldChg chg="modSp mod">
        <pc:chgData name="Munarriz Herrador Iñaki" userId="11637121-8aee-420b-9db7-54651cb06796" providerId="ADAL" clId="{028FF6F6-5B42-4493-A926-90FAA58B796E}" dt="2025-03-19T17:00:12.720" v="35" actId="20577"/>
        <pc:sldMkLst>
          <pc:docMk/>
          <pc:sldMk cId="0" sldId="2147483315"/>
        </pc:sldMkLst>
      </pc:sldChg>
      <pc:sldChg chg="modSp add mod">
        <pc:chgData name="Munarriz Herrador Iñaki" userId="11637121-8aee-420b-9db7-54651cb06796" providerId="ADAL" clId="{028FF6F6-5B42-4493-A926-90FAA58B796E}" dt="2025-03-20T07:59:19.813" v="1936" actId="20577"/>
        <pc:sldMkLst>
          <pc:docMk/>
          <pc:sldMk cId="88093545" sldId="2147483372"/>
        </pc:sldMkLst>
      </pc:sldChg>
      <pc:sldChg chg="addSp delSp modSp mod">
        <pc:chgData name="Munarriz Herrador Iñaki" userId="11637121-8aee-420b-9db7-54651cb06796" providerId="ADAL" clId="{028FF6F6-5B42-4493-A926-90FAA58B796E}" dt="2025-03-20T08:44:57.924" v="3094" actId="20577"/>
        <pc:sldMkLst>
          <pc:docMk/>
          <pc:sldMk cId="1243781170" sldId="2147483373"/>
        </pc:sldMkLst>
      </pc:sldChg>
      <pc:sldChg chg="addSp delSp modSp mod ord">
        <pc:chgData name="Munarriz Herrador Iñaki" userId="11637121-8aee-420b-9db7-54651cb06796" providerId="ADAL" clId="{028FF6F6-5B42-4493-A926-90FAA58B796E}" dt="2025-03-20T09:07:53.148" v="3388" actId="20577"/>
        <pc:sldMkLst>
          <pc:docMk/>
          <pc:sldMk cId="2818866366" sldId="2147483379"/>
        </pc:sldMkLst>
      </pc:sldChg>
      <pc:sldChg chg="delSp modSp mod">
        <pc:chgData name="Munarriz Herrador Iñaki" userId="11637121-8aee-420b-9db7-54651cb06796" providerId="ADAL" clId="{028FF6F6-5B42-4493-A926-90FAA58B796E}" dt="2025-03-19T23:07:26.854" v="1724" actId="255"/>
        <pc:sldMkLst>
          <pc:docMk/>
          <pc:sldMk cId="3033939552" sldId="2147483388"/>
        </pc:sldMkLst>
      </pc:sldChg>
      <pc:sldChg chg="addSp delSp modSp mod ord">
        <pc:chgData name="Munarriz Herrador Iñaki" userId="11637121-8aee-420b-9db7-54651cb06796" providerId="ADAL" clId="{028FF6F6-5B42-4493-A926-90FAA58B796E}" dt="2025-03-20T08:53:30.506" v="3188" actId="478"/>
        <pc:sldMkLst>
          <pc:docMk/>
          <pc:sldMk cId="937404720" sldId="2147483389"/>
        </pc:sldMkLst>
      </pc:sldChg>
      <pc:sldChg chg="ord">
        <pc:chgData name="Munarriz Herrador Iñaki" userId="11637121-8aee-420b-9db7-54651cb06796" providerId="ADAL" clId="{028FF6F6-5B42-4493-A926-90FAA58B796E}" dt="2025-03-19T23:08:14.105" v="1730"/>
        <pc:sldMkLst>
          <pc:docMk/>
          <pc:sldMk cId="538967907" sldId="2147483390"/>
        </pc:sldMkLst>
      </pc:sldChg>
      <pc:sldChg chg="ord">
        <pc:chgData name="Munarriz Herrador Iñaki" userId="11637121-8aee-420b-9db7-54651cb06796" providerId="ADAL" clId="{028FF6F6-5B42-4493-A926-90FAA58B796E}" dt="2025-03-19T23:08:14.105" v="1730"/>
        <pc:sldMkLst>
          <pc:docMk/>
          <pc:sldMk cId="2900280720" sldId="2147483391"/>
        </pc:sldMkLst>
      </pc:sldChg>
      <pc:sldChg chg="del">
        <pc:chgData name="Munarriz Herrador Iñaki" userId="11637121-8aee-420b-9db7-54651cb06796" providerId="ADAL" clId="{028FF6F6-5B42-4493-A926-90FAA58B796E}" dt="2025-03-19T23:08:39.984" v="1731" actId="47"/>
        <pc:sldMkLst>
          <pc:docMk/>
          <pc:sldMk cId="2732855569" sldId="2147483392"/>
        </pc:sldMkLst>
      </pc:sldChg>
      <pc:sldChg chg="del">
        <pc:chgData name="Munarriz Herrador Iñaki" userId="11637121-8aee-420b-9db7-54651cb06796" providerId="ADAL" clId="{028FF6F6-5B42-4493-A926-90FAA58B796E}" dt="2025-03-19T23:07:34.665" v="1725" actId="47"/>
        <pc:sldMkLst>
          <pc:docMk/>
          <pc:sldMk cId="45361350" sldId="2147483393"/>
        </pc:sldMkLst>
      </pc:sldChg>
      <pc:sldChg chg="del">
        <pc:chgData name="Munarriz Herrador Iñaki" userId="11637121-8aee-420b-9db7-54651cb06796" providerId="ADAL" clId="{028FF6F6-5B42-4493-A926-90FAA58B796E}" dt="2025-03-19T23:08:03.754" v="1728" actId="47"/>
        <pc:sldMkLst>
          <pc:docMk/>
          <pc:sldMk cId="2930060632" sldId="2147483394"/>
        </pc:sldMkLst>
      </pc:sldChg>
      <pc:sldChg chg="addSp delSp modSp add mod">
        <pc:chgData name="Munarriz Herrador Iñaki" userId="11637121-8aee-420b-9db7-54651cb06796" providerId="ADAL" clId="{028FF6F6-5B42-4493-A926-90FAA58B796E}" dt="2025-03-20T09:27:43.160" v="3789" actId="1035"/>
        <pc:sldMkLst>
          <pc:docMk/>
          <pc:sldMk cId="2649532606" sldId="2147483395"/>
        </pc:sldMkLst>
      </pc:sldChg>
      <pc:sldChg chg="addSp delSp modSp add del mod">
        <pc:chgData name="Munarriz Herrador Iñaki" userId="11637121-8aee-420b-9db7-54651cb06796" providerId="ADAL" clId="{028FF6F6-5B42-4493-A926-90FAA58B796E}" dt="2025-03-19T23:15:18.249" v="1855" actId="47"/>
        <pc:sldMkLst>
          <pc:docMk/>
          <pc:sldMk cId="40341960" sldId="2147483396"/>
        </pc:sldMkLst>
      </pc:sldChg>
      <pc:sldChg chg="addSp delSp modSp add mod">
        <pc:chgData name="Munarriz Herrador Iñaki" userId="11637121-8aee-420b-9db7-54651cb06796" providerId="ADAL" clId="{028FF6F6-5B42-4493-A926-90FAA58B796E}" dt="2025-03-20T07:59:42.119" v="1947" actId="20577"/>
        <pc:sldMkLst>
          <pc:docMk/>
          <pc:sldMk cId="4055449794" sldId="2147483397"/>
        </pc:sldMkLst>
      </pc:sldChg>
      <pc:sldChg chg="addSp delSp modSp add mod">
        <pc:chgData name="Munarriz Herrador Iñaki" userId="11637121-8aee-420b-9db7-54651cb06796" providerId="ADAL" clId="{028FF6F6-5B42-4493-A926-90FAA58B796E}" dt="2025-03-20T07:59:46.673" v="1950" actId="20577"/>
        <pc:sldMkLst>
          <pc:docMk/>
          <pc:sldMk cId="2877243688" sldId="2147483398"/>
        </pc:sldMkLst>
      </pc:sldChg>
      <pc:sldChg chg="addSp delSp modSp add mod">
        <pc:chgData name="Munarriz Herrador Iñaki" userId="11637121-8aee-420b-9db7-54651cb06796" providerId="ADAL" clId="{028FF6F6-5B42-4493-A926-90FAA58B796E}" dt="2025-03-20T07:59:50.219" v="1953" actId="20577"/>
        <pc:sldMkLst>
          <pc:docMk/>
          <pc:sldMk cId="3820138667" sldId="2147483399"/>
        </pc:sldMkLst>
      </pc:sldChg>
      <pc:sldChg chg="delSp modSp add del mod ord">
        <pc:chgData name="Munarriz Herrador Iñaki" userId="11637121-8aee-420b-9db7-54651cb06796" providerId="ADAL" clId="{028FF6F6-5B42-4493-A926-90FAA58B796E}" dt="2025-03-20T07:57:41.723" v="1869" actId="47"/>
        <pc:sldMkLst>
          <pc:docMk/>
          <pc:sldMk cId="202366616" sldId="2147483400"/>
        </pc:sldMkLst>
      </pc:sldChg>
      <pc:sldChg chg="add del">
        <pc:chgData name="Munarriz Herrador Iñaki" userId="11637121-8aee-420b-9db7-54651cb06796" providerId="ADAL" clId="{028FF6F6-5B42-4493-A926-90FAA58B796E}" dt="2025-03-20T09:03:08.490" v="3293" actId="47"/>
        <pc:sldMkLst>
          <pc:docMk/>
          <pc:sldMk cId="3151205359" sldId="2147483400"/>
        </pc:sldMkLst>
      </pc:sldChg>
      <pc:sldChg chg="add ord">
        <pc:chgData name="Munarriz Herrador Iñaki" userId="11637121-8aee-420b-9db7-54651cb06796" providerId="ADAL" clId="{028FF6F6-5B42-4493-A926-90FAA58B796E}" dt="2025-03-20T14:51:52.641" v="3792"/>
        <pc:sldMkLst>
          <pc:docMk/>
          <pc:sldMk cId="3328959841" sldId="2147483400"/>
        </pc:sldMkLst>
      </pc:sldChg>
    </pc:docChg>
  </pc:docChgLst>
  <pc:docChgLst>
    <pc:chgData name="Munarriz Herrador Iñaki" userId="11637121-8aee-420b-9db7-54651cb06796" providerId="ADAL" clId="{D346BDBC-FFFB-46A0-8E64-975E5FEF44DF}"/>
    <pc:docChg chg="undo redo custSel addSld delSld modSld sldOrd modSection">
      <pc:chgData name="Munarriz Herrador Iñaki" userId="11637121-8aee-420b-9db7-54651cb06796" providerId="ADAL" clId="{D346BDBC-FFFB-46A0-8E64-975E5FEF44DF}" dt="2025-06-17T15:59:51.871" v="2484" actId="1035"/>
      <pc:docMkLst>
        <pc:docMk/>
      </pc:docMkLst>
      <pc:sldChg chg="modSp mod">
        <pc:chgData name="Munarriz Herrador Iñaki" userId="11637121-8aee-420b-9db7-54651cb06796" providerId="ADAL" clId="{D346BDBC-FFFB-46A0-8E64-975E5FEF44DF}" dt="2025-06-15T06:23:16.734" v="31" actId="20577"/>
        <pc:sldMkLst>
          <pc:docMk/>
          <pc:sldMk cId="0" sldId="2147483315"/>
        </pc:sldMkLst>
        <pc:spChg chg="mod">
          <ac:chgData name="Munarriz Herrador Iñaki" userId="11637121-8aee-420b-9db7-54651cb06796" providerId="ADAL" clId="{D346BDBC-FFFB-46A0-8E64-975E5FEF44DF}" dt="2025-06-15T06:23:16.734" v="31" actId="20577"/>
          <ac:spMkLst>
            <pc:docMk/>
            <pc:sldMk cId="0" sldId="2147483315"/>
            <ac:spMk id="6" creationId="{00000000-0000-0000-0000-000000000000}"/>
          </ac:spMkLst>
        </pc:spChg>
        <pc:spChg chg="mod">
          <ac:chgData name="Munarriz Herrador Iñaki" userId="11637121-8aee-420b-9db7-54651cb06796" providerId="ADAL" clId="{D346BDBC-FFFB-46A0-8E64-975E5FEF44DF}" dt="2025-06-15T06:23:04.532" v="21" actId="20577"/>
          <ac:spMkLst>
            <pc:docMk/>
            <pc:sldMk cId="0" sldId="2147483315"/>
            <ac:spMk id="11" creationId="{D2ABA22D-F23D-20AB-0DA8-B06D42BD659D}"/>
          </ac:spMkLst>
        </pc:spChg>
      </pc:sldChg>
      <pc:sldChg chg="modSp mod">
        <pc:chgData name="Munarriz Herrador Iñaki" userId="11637121-8aee-420b-9db7-54651cb06796" providerId="ADAL" clId="{D346BDBC-FFFB-46A0-8E64-975E5FEF44DF}" dt="2025-06-17T11:29:31.957" v="1880" actId="207"/>
        <pc:sldMkLst>
          <pc:docMk/>
          <pc:sldMk cId="88093545" sldId="2147483372"/>
        </pc:sldMkLst>
        <pc:spChg chg="mod">
          <ac:chgData name="Munarriz Herrador Iñaki" userId="11637121-8aee-420b-9db7-54651cb06796" providerId="ADAL" clId="{D346BDBC-FFFB-46A0-8E64-975E5FEF44DF}" dt="2025-06-17T11:29:31.957" v="1880" actId="207"/>
          <ac:spMkLst>
            <pc:docMk/>
            <pc:sldMk cId="88093545" sldId="2147483372"/>
            <ac:spMk id="8" creationId="{B653FEEB-5B1B-5220-1426-D789485673FE}"/>
          </ac:spMkLst>
        </pc:spChg>
      </pc:sldChg>
      <pc:sldChg chg="addSp delSp modSp mod">
        <pc:chgData name="Munarriz Herrador Iñaki" userId="11637121-8aee-420b-9db7-54651cb06796" providerId="ADAL" clId="{D346BDBC-FFFB-46A0-8E64-975E5FEF44DF}" dt="2025-06-16T05:54:11.001" v="1569" actId="20577"/>
        <pc:sldMkLst>
          <pc:docMk/>
          <pc:sldMk cId="1243781170" sldId="2147483373"/>
        </pc:sldMkLst>
        <pc:spChg chg="mod">
          <ac:chgData name="Munarriz Herrador Iñaki" userId="11637121-8aee-420b-9db7-54651cb06796" providerId="ADAL" clId="{D346BDBC-FFFB-46A0-8E64-975E5FEF44DF}" dt="2025-06-16T05:54:11.001" v="1569" actId="20577"/>
          <ac:spMkLst>
            <pc:docMk/>
            <pc:sldMk cId="1243781170" sldId="2147483373"/>
            <ac:spMk id="2" creationId="{0D0F0FBB-CF31-7258-D6B3-FD3CCD13F048}"/>
          </ac:spMkLst>
        </pc:spChg>
        <pc:spChg chg="add del mod ord topLvl">
          <ac:chgData name="Munarriz Herrador Iñaki" userId="11637121-8aee-420b-9db7-54651cb06796" providerId="ADAL" clId="{D346BDBC-FFFB-46A0-8E64-975E5FEF44DF}" dt="2025-06-15T21:09:26.042" v="393" actId="164"/>
          <ac:spMkLst>
            <pc:docMk/>
            <pc:sldMk cId="1243781170" sldId="2147483373"/>
            <ac:spMk id="11" creationId="{5BB125DB-F813-949A-99A7-A9A6AC44B387}"/>
          </ac:spMkLst>
        </pc:spChg>
        <pc:spChg chg="mod topLvl">
          <ac:chgData name="Munarriz Herrador Iñaki" userId="11637121-8aee-420b-9db7-54651cb06796" providerId="ADAL" clId="{D346BDBC-FFFB-46A0-8E64-975E5FEF44DF}" dt="2025-06-15T21:09:26.042" v="393" actId="164"/>
          <ac:spMkLst>
            <pc:docMk/>
            <pc:sldMk cId="1243781170" sldId="2147483373"/>
            <ac:spMk id="14" creationId="{E3CF0BD5-F2D8-4DDE-B1A9-1CBB336FB670}"/>
          </ac:spMkLst>
        </pc:spChg>
        <pc:spChg chg="add mod topLvl">
          <ac:chgData name="Munarriz Herrador Iñaki" userId="11637121-8aee-420b-9db7-54651cb06796" providerId="ADAL" clId="{D346BDBC-FFFB-46A0-8E64-975E5FEF44DF}" dt="2025-06-15T21:09:26.042" v="393" actId="164"/>
          <ac:spMkLst>
            <pc:docMk/>
            <pc:sldMk cId="1243781170" sldId="2147483373"/>
            <ac:spMk id="16" creationId="{4FEB89AF-6493-CA4A-A375-523CA0F523C1}"/>
          </ac:spMkLst>
        </pc:spChg>
        <pc:spChg chg="add mod">
          <ac:chgData name="Munarriz Herrador Iñaki" userId="11637121-8aee-420b-9db7-54651cb06796" providerId="ADAL" clId="{D346BDBC-FFFB-46A0-8E64-975E5FEF44DF}" dt="2025-06-15T21:09:29.818" v="394" actId="164"/>
          <ac:spMkLst>
            <pc:docMk/>
            <pc:sldMk cId="1243781170" sldId="2147483373"/>
            <ac:spMk id="17" creationId="{E489FA0E-5146-4715-B5C6-F21415523D81}"/>
          </ac:spMkLst>
        </pc:spChg>
        <pc:spChg chg="add mod topLvl">
          <ac:chgData name="Munarriz Herrador Iñaki" userId="11637121-8aee-420b-9db7-54651cb06796" providerId="ADAL" clId="{D346BDBC-FFFB-46A0-8E64-975E5FEF44DF}" dt="2025-06-15T21:09:26.042" v="393" actId="164"/>
          <ac:spMkLst>
            <pc:docMk/>
            <pc:sldMk cId="1243781170" sldId="2147483373"/>
            <ac:spMk id="25" creationId="{3DC411D3-02E6-2C49-577E-431E3D1FF260}"/>
          </ac:spMkLst>
        </pc:spChg>
        <pc:spChg chg="add mod">
          <ac:chgData name="Munarriz Herrador Iñaki" userId="11637121-8aee-420b-9db7-54651cb06796" providerId="ADAL" clId="{D346BDBC-FFFB-46A0-8E64-975E5FEF44DF}" dt="2025-06-15T21:09:29.818" v="394" actId="164"/>
          <ac:spMkLst>
            <pc:docMk/>
            <pc:sldMk cId="1243781170" sldId="2147483373"/>
            <ac:spMk id="27" creationId="{A18CB189-6B2F-FF05-C878-C05BFBA1E48F}"/>
          </ac:spMkLst>
        </pc:spChg>
        <pc:spChg chg="add mod">
          <ac:chgData name="Munarriz Herrador Iñaki" userId="11637121-8aee-420b-9db7-54651cb06796" providerId="ADAL" clId="{D346BDBC-FFFB-46A0-8E64-975E5FEF44DF}" dt="2025-06-15T21:09:29.818" v="394" actId="164"/>
          <ac:spMkLst>
            <pc:docMk/>
            <pc:sldMk cId="1243781170" sldId="2147483373"/>
            <ac:spMk id="28" creationId="{6DC94D33-0540-8411-9AFF-BC554570FD22}"/>
          </ac:spMkLst>
        </pc:spChg>
        <pc:spChg chg="mod">
          <ac:chgData name="Munarriz Herrador Iñaki" userId="11637121-8aee-420b-9db7-54651cb06796" providerId="ADAL" clId="{D346BDBC-FFFB-46A0-8E64-975E5FEF44DF}" dt="2025-06-15T21:12:32.571" v="630" actId="20577"/>
          <ac:spMkLst>
            <pc:docMk/>
            <pc:sldMk cId="1243781170" sldId="2147483373"/>
            <ac:spMk id="38" creationId="{691FDFAE-1869-C9D8-593E-52E54B8D9BA8}"/>
          </ac:spMkLst>
        </pc:spChg>
        <pc:spChg chg="mod">
          <ac:chgData name="Munarriz Herrador Iñaki" userId="11637121-8aee-420b-9db7-54651cb06796" providerId="ADAL" clId="{D346BDBC-FFFB-46A0-8E64-975E5FEF44DF}" dt="2025-06-15T21:12:46.328" v="632" actId="20577"/>
          <ac:spMkLst>
            <pc:docMk/>
            <pc:sldMk cId="1243781170" sldId="2147483373"/>
            <ac:spMk id="39" creationId="{CC4DDFF4-761D-995B-6DF0-1E7532E18886}"/>
          </ac:spMkLst>
        </pc:spChg>
        <pc:spChg chg="mod">
          <ac:chgData name="Munarriz Herrador Iñaki" userId="11637121-8aee-420b-9db7-54651cb06796" providerId="ADAL" clId="{D346BDBC-FFFB-46A0-8E64-975E5FEF44DF}" dt="2025-06-15T21:09:41.688" v="398"/>
          <ac:spMkLst>
            <pc:docMk/>
            <pc:sldMk cId="1243781170" sldId="2147483373"/>
            <ac:spMk id="41" creationId="{1D17B2A6-1FC3-8256-10F3-3AFCA2296B20}"/>
          </ac:spMkLst>
        </pc:spChg>
        <pc:spChg chg="mod">
          <ac:chgData name="Munarriz Herrador Iñaki" userId="11637121-8aee-420b-9db7-54651cb06796" providerId="ADAL" clId="{D346BDBC-FFFB-46A0-8E64-975E5FEF44DF}" dt="2025-06-15T21:13:01.589" v="635" actId="20577"/>
          <ac:spMkLst>
            <pc:docMk/>
            <pc:sldMk cId="1243781170" sldId="2147483373"/>
            <ac:spMk id="42" creationId="{9320906B-9399-F7D8-A216-3D8FA59FFFD9}"/>
          </ac:spMkLst>
        </pc:spChg>
        <pc:spChg chg="mod ord">
          <ac:chgData name="Munarriz Herrador Iñaki" userId="11637121-8aee-420b-9db7-54651cb06796" providerId="ADAL" clId="{D346BDBC-FFFB-46A0-8E64-975E5FEF44DF}" dt="2025-06-15T21:12:06.315" v="626" actId="20577"/>
          <ac:spMkLst>
            <pc:docMk/>
            <pc:sldMk cId="1243781170" sldId="2147483373"/>
            <ac:spMk id="44" creationId="{9947456F-95BE-E86D-DF69-B445F45E839E}"/>
          </ac:spMkLst>
        </pc:spChg>
        <pc:spChg chg="mod">
          <ac:chgData name="Munarriz Herrador Iñaki" userId="11637121-8aee-420b-9db7-54651cb06796" providerId="ADAL" clId="{D346BDBC-FFFB-46A0-8E64-975E5FEF44DF}" dt="2025-06-15T21:11:58.775" v="624" actId="14100"/>
          <ac:spMkLst>
            <pc:docMk/>
            <pc:sldMk cId="1243781170" sldId="2147483373"/>
            <ac:spMk id="45" creationId="{F10211DB-E9CE-756B-FFAA-2E035271535F}"/>
          </ac:spMkLst>
        </pc:spChg>
        <pc:spChg chg="mod">
          <ac:chgData name="Munarriz Herrador Iñaki" userId="11637121-8aee-420b-9db7-54651cb06796" providerId="ADAL" clId="{D346BDBC-FFFB-46A0-8E64-975E5FEF44DF}" dt="2025-06-15T21:11:19.771" v="619"/>
          <ac:spMkLst>
            <pc:docMk/>
            <pc:sldMk cId="1243781170" sldId="2147483373"/>
            <ac:spMk id="46" creationId="{2911DFDA-7CBF-CE55-8527-50CF72078341}"/>
          </ac:spMkLst>
        </pc:spChg>
        <pc:grpChg chg="add mod">
          <ac:chgData name="Munarriz Herrador Iñaki" userId="11637121-8aee-420b-9db7-54651cb06796" providerId="ADAL" clId="{D346BDBC-FFFB-46A0-8E64-975E5FEF44DF}" dt="2025-06-15T21:10:32.800" v="613" actId="1037"/>
          <ac:grpSpMkLst>
            <pc:docMk/>
            <pc:sldMk cId="1243781170" sldId="2147483373"/>
            <ac:grpSpMk id="37" creationId="{8976AAF8-1F55-AD82-9D98-6FFA3060D36A}"/>
          </ac:grpSpMkLst>
        </pc:grpChg>
        <pc:grpChg chg="add mod">
          <ac:chgData name="Munarriz Herrador Iñaki" userId="11637121-8aee-420b-9db7-54651cb06796" providerId="ADAL" clId="{D346BDBC-FFFB-46A0-8E64-975E5FEF44DF}" dt="2025-06-15T21:11:36.184" v="621" actId="14100"/>
          <ac:grpSpMkLst>
            <pc:docMk/>
            <pc:sldMk cId="1243781170" sldId="2147483373"/>
            <ac:grpSpMk id="43" creationId="{64ED50A7-AB2A-7F01-F5AB-15829F2C15D0}"/>
          </ac:grpSpMkLst>
        </pc:grpChg>
      </pc:sldChg>
      <pc:sldChg chg="del">
        <pc:chgData name="Munarriz Herrador Iñaki" userId="11637121-8aee-420b-9db7-54651cb06796" providerId="ADAL" clId="{D346BDBC-FFFB-46A0-8E64-975E5FEF44DF}" dt="2025-06-15T22:08:02.973" v="1285" actId="47"/>
        <pc:sldMkLst>
          <pc:docMk/>
          <pc:sldMk cId="2818866366" sldId="2147483379"/>
        </pc:sldMkLst>
      </pc:sldChg>
      <pc:sldChg chg="del">
        <pc:chgData name="Munarriz Herrador Iñaki" userId="11637121-8aee-420b-9db7-54651cb06796" providerId="ADAL" clId="{D346BDBC-FFFB-46A0-8E64-975E5FEF44DF}" dt="2025-06-15T22:08:02.973" v="1285" actId="47"/>
        <pc:sldMkLst>
          <pc:docMk/>
          <pc:sldMk cId="3033939552" sldId="2147483388"/>
        </pc:sldMkLst>
      </pc:sldChg>
      <pc:sldChg chg="del">
        <pc:chgData name="Munarriz Herrador Iñaki" userId="11637121-8aee-420b-9db7-54651cb06796" providerId="ADAL" clId="{D346BDBC-FFFB-46A0-8E64-975E5FEF44DF}" dt="2025-06-15T22:08:02.973" v="1285" actId="47"/>
        <pc:sldMkLst>
          <pc:docMk/>
          <pc:sldMk cId="937404720" sldId="2147483389"/>
        </pc:sldMkLst>
      </pc:sldChg>
      <pc:sldChg chg="del">
        <pc:chgData name="Munarriz Herrador Iñaki" userId="11637121-8aee-420b-9db7-54651cb06796" providerId="ADAL" clId="{D346BDBC-FFFB-46A0-8E64-975E5FEF44DF}" dt="2025-06-15T22:08:02.973" v="1285" actId="47"/>
        <pc:sldMkLst>
          <pc:docMk/>
          <pc:sldMk cId="538967907" sldId="2147483390"/>
        </pc:sldMkLst>
      </pc:sldChg>
      <pc:sldChg chg="del">
        <pc:chgData name="Munarriz Herrador Iñaki" userId="11637121-8aee-420b-9db7-54651cb06796" providerId="ADAL" clId="{D346BDBC-FFFB-46A0-8E64-975E5FEF44DF}" dt="2025-06-15T22:08:02.973" v="1285" actId="47"/>
        <pc:sldMkLst>
          <pc:docMk/>
          <pc:sldMk cId="2900280720" sldId="2147483391"/>
        </pc:sldMkLst>
      </pc:sldChg>
      <pc:sldChg chg="del">
        <pc:chgData name="Munarriz Herrador Iñaki" userId="11637121-8aee-420b-9db7-54651cb06796" providerId="ADAL" clId="{D346BDBC-FFFB-46A0-8E64-975E5FEF44DF}" dt="2025-06-15T22:08:02.973" v="1285" actId="47"/>
        <pc:sldMkLst>
          <pc:docMk/>
          <pc:sldMk cId="2649532606" sldId="2147483395"/>
        </pc:sldMkLst>
      </pc:sldChg>
      <pc:sldChg chg="del">
        <pc:chgData name="Munarriz Herrador Iñaki" userId="11637121-8aee-420b-9db7-54651cb06796" providerId="ADAL" clId="{D346BDBC-FFFB-46A0-8E64-975E5FEF44DF}" dt="2025-06-15T22:08:02.973" v="1285" actId="47"/>
        <pc:sldMkLst>
          <pc:docMk/>
          <pc:sldMk cId="4055449794" sldId="2147483397"/>
        </pc:sldMkLst>
      </pc:sldChg>
      <pc:sldChg chg="del">
        <pc:chgData name="Munarriz Herrador Iñaki" userId="11637121-8aee-420b-9db7-54651cb06796" providerId="ADAL" clId="{D346BDBC-FFFB-46A0-8E64-975E5FEF44DF}" dt="2025-06-15T22:08:02.973" v="1285" actId="47"/>
        <pc:sldMkLst>
          <pc:docMk/>
          <pc:sldMk cId="2877243688" sldId="2147483398"/>
        </pc:sldMkLst>
      </pc:sldChg>
      <pc:sldChg chg="del">
        <pc:chgData name="Munarriz Herrador Iñaki" userId="11637121-8aee-420b-9db7-54651cb06796" providerId="ADAL" clId="{D346BDBC-FFFB-46A0-8E64-975E5FEF44DF}" dt="2025-06-15T22:08:02.973" v="1285" actId="47"/>
        <pc:sldMkLst>
          <pc:docMk/>
          <pc:sldMk cId="3820138667" sldId="2147483399"/>
        </pc:sldMkLst>
      </pc:sldChg>
      <pc:sldChg chg="del">
        <pc:chgData name="Munarriz Herrador Iñaki" userId="11637121-8aee-420b-9db7-54651cb06796" providerId="ADAL" clId="{D346BDBC-FFFB-46A0-8E64-975E5FEF44DF}" dt="2025-06-15T22:08:02.973" v="1285" actId="47"/>
        <pc:sldMkLst>
          <pc:docMk/>
          <pc:sldMk cId="3328959841" sldId="2147483400"/>
        </pc:sldMkLst>
      </pc:sldChg>
      <pc:sldChg chg="addSp delSp modSp add mod">
        <pc:chgData name="Munarriz Herrador Iñaki" userId="11637121-8aee-420b-9db7-54651cb06796" providerId="ADAL" clId="{D346BDBC-FFFB-46A0-8E64-975E5FEF44DF}" dt="2025-06-16T05:54:14.810" v="1571" actId="20577"/>
        <pc:sldMkLst>
          <pc:docMk/>
          <pc:sldMk cId="2085739677" sldId="2147483401"/>
        </pc:sldMkLst>
        <pc:spChg chg="mod">
          <ac:chgData name="Munarriz Herrador Iñaki" userId="11637121-8aee-420b-9db7-54651cb06796" providerId="ADAL" clId="{D346BDBC-FFFB-46A0-8E64-975E5FEF44DF}" dt="2025-06-16T05:54:14.810" v="1571" actId="20577"/>
          <ac:spMkLst>
            <pc:docMk/>
            <pc:sldMk cId="2085739677" sldId="2147483401"/>
            <ac:spMk id="2" creationId="{3B484C4C-ACBA-F187-2C1F-D605A8F30CDF}"/>
          </ac:spMkLst>
        </pc:spChg>
        <pc:spChg chg="add mod">
          <ac:chgData name="Munarriz Herrador Iñaki" userId="11637121-8aee-420b-9db7-54651cb06796" providerId="ADAL" clId="{D346BDBC-FFFB-46A0-8E64-975E5FEF44DF}" dt="2025-06-15T21:33:32.393" v="922" actId="20577"/>
          <ac:spMkLst>
            <pc:docMk/>
            <pc:sldMk cId="2085739677" sldId="2147483401"/>
            <ac:spMk id="4" creationId="{6C273F7D-CCBD-F3F2-7BED-FB9C3AD4A092}"/>
          </ac:spMkLst>
        </pc:spChg>
        <pc:spChg chg="mod">
          <ac:chgData name="Munarriz Herrador Iñaki" userId="11637121-8aee-420b-9db7-54651cb06796" providerId="ADAL" clId="{D346BDBC-FFFB-46A0-8E64-975E5FEF44DF}" dt="2025-06-15T21:34:39.722" v="950" actId="113"/>
          <ac:spMkLst>
            <pc:docMk/>
            <pc:sldMk cId="2085739677" sldId="2147483401"/>
            <ac:spMk id="6" creationId="{4D640CA6-3CA2-8440-10D3-BFED64F620AB}"/>
          </ac:spMkLst>
        </pc:spChg>
      </pc:sldChg>
      <pc:sldChg chg="addSp delSp modSp add mod">
        <pc:chgData name="Munarriz Herrador Iñaki" userId="11637121-8aee-420b-9db7-54651cb06796" providerId="ADAL" clId="{D346BDBC-FFFB-46A0-8E64-975E5FEF44DF}" dt="2025-06-16T05:54:18.735" v="1573" actId="20577"/>
        <pc:sldMkLst>
          <pc:docMk/>
          <pc:sldMk cId="2425737149" sldId="2147483402"/>
        </pc:sldMkLst>
      </pc:sldChg>
      <pc:sldChg chg="addSp delSp modSp add mod">
        <pc:chgData name="Munarriz Herrador Iñaki" userId="11637121-8aee-420b-9db7-54651cb06796" providerId="ADAL" clId="{D346BDBC-FFFB-46A0-8E64-975E5FEF44DF}" dt="2025-06-16T05:54:23.361" v="1575" actId="20577"/>
        <pc:sldMkLst>
          <pc:docMk/>
          <pc:sldMk cId="2876304681" sldId="2147483403"/>
        </pc:sldMkLst>
      </pc:sldChg>
      <pc:sldChg chg="addSp delSp modSp add mod">
        <pc:chgData name="Munarriz Herrador Iñaki" userId="11637121-8aee-420b-9db7-54651cb06796" providerId="ADAL" clId="{D346BDBC-FFFB-46A0-8E64-975E5FEF44DF}" dt="2025-06-16T05:54:27.640" v="1577" actId="20577"/>
        <pc:sldMkLst>
          <pc:docMk/>
          <pc:sldMk cId="1567361310" sldId="2147483404"/>
        </pc:sldMkLst>
      </pc:sldChg>
      <pc:sldChg chg="addSp delSp modSp add mod">
        <pc:chgData name="Munarriz Herrador Iñaki" userId="11637121-8aee-420b-9db7-54651cb06796" providerId="ADAL" clId="{D346BDBC-FFFB-46A0-8E64-975E5FEF44DF}" dt="2025-06-16T05:54:35.051" v="1579" actId="20577"/>
        <pc:sldMkLst>
          <pc:docMk/>
          <pc:sldMk cId="559595493" sldId="2147483405"/>
        </pc:sldMkLst>
      </pc:sldChg>
      <pc:sldChg chg="addSp delSp modSp add mod">
        <pc:chgData name="Munarriz Herrador Iñaki" userId="11637121-8aee-420b-9db7-54651cb06796" providerId="ADAL" clId="{D346BDBC-FFFB-46A0-8E64-975E5FEF44DF}" dt="2025-06-16T05:54:39.633" v="1581" actId="20577"/>
        <pc:sldMkLst>
          <pc:docMk/>
          <pc:sldMk cId="1724892760" sldId="2147483406"/>
        </pc:sldMkLst>
      </pc:sldChg>
      <pc:sldChg chg="addSp delSp modSp add mod">
        <pc:chgData name="Munarriz Herrador Iñaki" userId="11637121-8aee-420b-9db7-54651cb06796" providerId="ADAL" clId="{D346BDBC-FFFB-46A0-8E64-975E5FEF44DF}" dt="2025-06-16T05:54:43.468" v="1583" actId="20577"/>
        <pc:sldMkLst>
          <pc:docMk/>
          <pc:sldMk cId="3545608862" sldId="2147483407"/>
        </pc:sldMkLst>
      </pc:sldChg>
      <pc:sldChg chg="addSp delSp modSp add mod">
        <pc:chgData name="Munarriz Herrador Iñaki" userId="11637121-8aee-420b-9db7-54651cb06796" providerId="ADAL" clId="{D346BDBC-FFFB-46A0-8E64-975E5FEF44DF}" dt="2025-06-16T05:54:47.921" v="1585" actId="20577"/>
        <pc:sldMkLst>
          <pc:docMk/>
          <pc:sldMk cId="624714175" sldId="2147483408"/>
        </pc:sldMkLst>
      </pc:sldChg>
      <pc:sldChg chg="addSp delSp modSp add mod ord">
        <pc:chgData name="Munarriz Herrador Iñaki" userId="11637121-8aee-420b-9db7-54651cb06796" providerId="ADAL" clId="{D346BDBC-FFFB-46A0-8E64-975E5FEF44DF}" dt="2025-06-17T11:28:15.589" v="1848" actId="20577"/>
        <pc:sldMkLst>
          <pc:docMk/>
          <pc:sldMk cId="2428685999" sldId="2147483409"/>
        </pc:sldMkLst>
        <pc:spChg chg="mod">
          <ac:chgData name="Munarriz Herrador Iñaki" userId="11637121-8aee-420b-9db7-54651cb06796" providerId="ADAL" clId="{D346BDBC-FFFB-46A0-8E64-975E5FEF44DF}" dt="2025-06-17T11:28:15.589" v="1848" actId="20577"/>
          <ac:spMkLst>
            <pc:docMk/>
            <pc:sldMk cId="2428685999" sldId="2147483409"/>
            <ac:spMk id="2" creationId="{1175E9BF-D1B2-9907-CED2-A77CA4C8D84B}"/>
          </ac:spMkLst>
        </pc:spChg>
      </pc:sldChg>
      <pc:sldChg chg="addSp delSp modSp add mod">
        <pc:chgData name="Munarriz Herrador Iñaki" userId="11637121-8aee-420b-9db7-54651cb06796" providerId="ADAL" clId="{D346BDBC-FFFB-46A0-8E64-975E5FEF44DF}" dt="2025-06-16T05:54:52.018" v="1587" actId="20577"/>
        <pc:sldMkLst>
          <pc:docMk/>
          <pc:sldMk cId="792640642" sldId="2147483410"/>
        </pc:sldMkLst>
      </pc:sldChg>
      <pc:sldChg chg="modSp add del mod">
        <pc:chgData name="Munarriz Herrador Iñaki" userId="11637121-8aee-420b-9db7-54651cb06796" providerId="ADAL" clId="{D346BDBC-FFFB-46A0-8E64-975E5FEF44DF}" dt="2025-06-15T22:41:15.340" v="1547" actId="47"/>
        <pc:sldMkLst>
          <pc:docMk/>
          <pc:sldMk cId="3135902622" sldId="2147483411"/>
        </pc:sldMkLst>
      </pc:sldChg>
      <pc:sldChg chg="addSp modSp add mod">
        <pc:chgData name="Munarriz Herrador Iñaki" userId="11637121-8aee-420b-9db7-54651cb06796" providerId="ADAL" clId="{D346BDBC-FFFB-46A0-8E64-975E5FEF44DF}" dt="2025-06-16T14:49:20.895" v="1756" actId="20577"/>
        <pc:sldMkLst>
          <pc:docMk/>
          <pc:sldMk cId="2680299840" sldId="2147483412"/>
        </pc:sldMkLst>
      </pc:sldChg>
      <pc:sldChg chg="modSp add del mod">
        <pc:chgData name="Munarriz Herrador Iñaki" userId="11637121-8aee-420b-9db7-54651cb06796" providerId="ADAL" clId="{D346BDBC-FFFB-46A0-8E64-975E5FEF44DF}" dt="2025-06-15T22:36:06.170" v="1533" actId="47"/>
        <pc:sldMkLst>
          <pc:docMk/>
          <pc:sldMk cId="774817878" sldId="2147483413"/>
        </pc:sldMkLst>
      </pc:sldChg>
      <pc:sldChg chg="addSp modSp add mod">
        <pc:chgData name="Munarriz Herrador Iñaki" userId="11637121-8aee-420b-9db7-54651cb06796" providerId="ADAL" clId="{D346BDBC-FFFB-46A0-8E64-975E5FEF44DF}" dt="2025-06-16T05:55:02.034" v="1591" actId="20577"/>
        <pc:sldMkLst>
          <pc:docMk/>
          <pc:sldMk cId="1307132154" sldId="2147483414"/>
        </pc:sldMkLst>
      </pc:sldChg>
      <pc:sldChg chg="delSp modSp add mod">
        <pc:chgData name="Munarriz Herrador Iñaki" userId="11637121-8aee-420b-9db7-54651cb06796" providerId="ADAL" clId="{D346BDBC-FFFB-46A0-8E64-975E5FEF44DF}" dt="2025-06-17T11:28:46.888" v="1865" actId="20577"/>
        <pc:sldMkLst>
          <pc:docMk/>
          <pc:sldMk cId="17658299" sldId="2147483415"/>
        </pc:sldMkLst>
        <pc:spChg chg="mod">
          <ac:chgData name="Munarriz Herrador Iñaki" userId="11637121-8aee-420b-9db7-54651cb06796" providerId="ADAL" clId="{D346BDBC-FFFB-46A0-8E64-975E5FEF44DF}" dt="2025-06-17T11:28:25.161" v="1856" actId="20577"/>
          <ac:spMkLst>
            <pc:docMk/>
            <pc:sldMk cId="17658299" sldId="2147483415"/>
            <ac:spMk id="2" creationId="{6A3A3BAC-8B63-FE88-8EBA-55E23E04DF68}"/>
          </ac:spMkLst>
        </pc:spChg>
        <pc:spChg chg="mod">
          <ac:chgData name="Munarriz Herrador Iñaki" userId="11637121-8aee-420b-9db7-54651cb06796" providerId="ADAL" clId="{D346BDBC-FFFB-46A0-8E64-975E5FEF44DF}" dt="2025-06-16T14:50:34.709" v="1789" actId="1036"/>
          <ac:spMkLst>
            <pc:docMk/>
            <pc:sldMk cId="17658299" sldId="2147483415"/>
            <ac:spMk id="11" creationId="{591ACA2D-8232-6019-E1A7-60ADA8C1080E}"/>
          </ac:spMkLst>
        </pc:spChg>
        <pc:spChg chg="mod">
          <ac:chgData name="Munarriz Herrador Iñaki" userId="11637121-8aee-420b-9db7-54651cb06796" providerId="ADAL" clId="{D346BDBC-FFFB-46A0-8E64-975E5FEF44DF}" dt="2025-06-16T14:51:02.135" v="1820" actId="207"/>
          <ac:spMkLst>
            <pc:docMk/>
            <pc:sldMk cId="17658299" sldId="2147483415"/>
            <ac:spMk id="12" creationId="{93E60E6D-EA43-22FE-9D59-AA5BB2803CBF}"/>
          </ac:spMkLst>
        </pc:spChg>
        <pc:spChg chg="mod">
          <ac:chgData name="Munarriz Herrador Iñaki" userId="11637121-8aee-420b-9db7-54651cb06796" providerId="ADAL" clId="{D346BDBC-FFFB-46A0-8E64-975E5FEF44DF}" dt="2025-06-16T13:52:14.040" v="1750" actId="123"/>
          <ac:spMkLst>
            <pc:docMk/>
            <pc:sldMk cId="17658299" sldId="2147483415"/>
            <ac:spMk id="13" creationId="{F4C15732-3FC0-91F0-9D75-F7CE7BC43971}"/>
          </ac:spMkLst>
        </pc:spChg>
        <pc:spChg chg="mod">
          <ac:chgData name="Munarriz Herrador Iñaki" userId="11637121-8aee-420b-9db7-54651cb06796" providerId="ADAL" clId="{D346BDBC-FFFB-46A0-8E64-975E5FEF44DF}" dt="2025-06-17T11:28:46.888" v="1865" actId="20577"/>
          <ac:spMkLst>
            <pc:docMk/>
            <pc:sldMk cId="17658299" sldId="2147483415"/>
            <ac:spMk id="14" creationId="{B465FE55-FE87-88F2-6FBC-96F1929EF897}"/>
          </ac:spMkLst>
        </pc:spChg>
      </pc:sldChg>
      <pc:sldChg chg="addSp delSp modSp add mod">
        <pc:chgData name="Munarriz Herrador Iñaki" userId="11637121-8aee-420b-9db7-54651cb06796" providerId="ADAL" clId="{D346BDBC-FFFB-46A0-8E64-975E5FEF44DF}" dt="2025-06-17T15:59:30.453" v="2425" actId="1036"/>
        <pc:sldMkLst>
          <pc:docMk/>
          <pc:sldMk cId="2523228152" sldId="2147483416"/>
        </pc:sldMkLst>
      </pc:sldChg>
      <pc:sldChg chg="addSp delSp modSp add mod">
        <pc:chgData name="Munarriz Herrador Iñaki" userId="11637121-8aee-420b-9db7-54651cb06796" providerId="ADAL" clId="{D346BDBC-FFFB-46A0-8E64-975E5FEF44DF}" dt="2025-06-17T15:59:51.871" v="2484" actId="1035"/>
        <pc:sldMkLst>
          <pc:docMk/>
          <pc:sldMk cId="3043515397" sldId="2147483417"/>
        </pc:sldMkLst>
      </pc:sldChg>
    </pc:docChg>
  </pc:docChgLst>
  <pc:docChgLst>
    <pc:chgData name="Munarriz Herrador Iñaki" userId="11637121-8aee-420b-9db7-54651cb06796" providerId="ADAL" clId="{3350B887-55C5-4C6D-9AD1-3AB555665C94}"/>
    <pc:docChg chg="custSel addSld modSld modSection">
      <pc:chgData name="Munarriz Herrador Iñaki" userId="11637121-8aee-420b-9db7-54651cb06796" providerId="ADAL" clId="{3350B887-55C5-4C6D-9AD1-3AB555665C94}" dt="2025-02-17T16:15:04.320" v="46" actId="14100"/>
      <pc:docMkLst>
        <pc:docMk/>
      </pc:docMkLst>
      <pc:sldChg chg="modSp mod">
        <pc:chgData name="Munarriz Herrador Iñaki" userId="11637121-8aee-420b-9db7-54651cb06796" providerId="ADAL" clId="{3350B887-55C5-4C6D-9AD1-3AB555665C94}" dt="2025-02-17T12:01:58.688" v="39" actId="20577"/>
        <pc:sldMkLst>
          <pc:docMk/>
          <pc:sldMk cId="0" sldId="2147483315"/>
        </pc:sldMkLst>
      </pc:sldChg>
      <pc:sldChg chg="addSp delSp modSp add mod">
        <pc:chgData name="Munarriz Herrador Iñaki" userId="11637121-8aee-420b-9db7-54651cb06796" providerId="ADAL" clId="{3350B887-55C5-4C6D-9AD1-3AB555665C94}" dt="2025-02-17T16:15:04.320" v="46" actId="14100"/>
        <pc:sldMkLst>
          <pc:docMk/>
          <pc:sldMk cId="3033939552" sldId="2147483388"/>
        </pc:sldMkLst>
      </pc:sldChg>
    </pc:docChg>
  </pc:docChgLst>
  <pc:docChgLst>
    <pc:chgData name="Munarriz Herrador Iñaki" userId="11637121-8aee-420b-9db7-54651cb06796" providerId="ADAL" clId="{C050DCA4-94CC-4AE4-AC4D-7DC423C906C0}"/>
    <pc:docChg chg="undo redo custSel addSld delSld modSld sldOrd modSection">
      <pc:chgData name="Munarriz Herrador Iñaki" userId="11637121-8aee-420b-9db7-54651cb06796" providerId="ADAL" clId="{C050DCA4-94CC-4AE4-AC4D-7DC423C906C0}" dt="2025-03-19T10:07:35.318" v="10650" actId="1076"/>
      <pc:docMkLst>
        <pc:docMk/>
      </pc:docMkLst>
      <pc:sldChg chg="modSp mod">
        <pc:chgData name="Munarriz Herrador Iñaki" userId="11637121-8aee-420b-9db7-54651cb06796" providerId="ADAL" clId="{C050DCA4-94CC-4AE4-AC4D-7DC423C906C0}" dt="2025-02-21T11:11:57.009" v="95" actId="20577"/>
        <pc:sldMkLst>
          <pc:docMk/>
          <pc:sldMk cId="0" sldId="2147483315"/>
        </pc:sldMkLst>
      </pc:sldChg>
      <pc:sldChg chg="del">
        <pc:chgData name="Munarriz Herrador Iñaki" userId="11637121-8aee-420b-9db7-54651cb06796" providerId="ADAL" clId="{C050DCA4-94CC-4AE4-AC4D-7DC423C906C0}" dt="2025-02-26T16:30:21.688" v="6965" actId="47"/>
        <pc:sldMkLst>
          <pc:docMk/>
          <pc:sldMk cId="88093545" sldId="2147483372"/>
        </pc:sldMkLst>
      </pc:sldChg>
      <pc:sldChg chg="addSp delSp modSp mod">
        <pc:chgData name="Munarriz Herrador Iñaki" userId="11637121-8aee-420b-9db7-54651cb06796" providerId="ADAL" clId="{C050DCA4-94CC-4AE4-AC4D-7DC423C906C0}" dt="2025-03-19T10:07:35.318" v="10650" actId="1076"/>
        <pc:sldMkLst>
          <pc:docMk/>
          <pc:sldMk cId="1243781170" sldId="2147483373"/>
        </pc:sldMkLst>
      </pc:sldChg>
      <pc:sldChg chg="del">
        <pc:chgData name="Munarriz Herrador Iñaki" userId="11637121-8aee-420b-9db7-54651cb06796" providerId="ADAL" clId="{C050DCA4-94CC-4AE4-AC4D-7DC423C906C0}" dt="2025-02-26T16:30:36.174" v="6966" actId="47"/>
        <pc:sldMkLst>
          <pc:docMk/>
          <pc:sldMk cId="3267060004" sldId="2147483374"/>
        </pc:sldMkLst>
      </pc:sldChg>
      <pc:sldChg chg="del">
        <pc:chgData name="Munarriz Herrador Iñaki" userId="11637121-8aee-420b-9db7-54651cb06796" providerId="ADAL" clId="{C050DCA4-94CC-4AE4-AC4D-7DC423C906C0}" dt="2025-02-26T16:30:36.174" v="6966" actId="47"/>
        <pc:sldMkLst>
          <pc:docMk/>
          <pc:sldMk cId="61861682" sldId="2147483375"/>
        </pc:sldMkLst>
      </pc:sldChg>
      <pc:sldChg chg="del">
        <pc:chgData name="Munarriz Herrador Iñaki" userId="11637121-8aee-420b-9db7-54651cb06796" providerId="ADAL" clId="{C050DCA4-94CC-4AE4-AC4D-7DC423C906C0}" dt="2025-02-26T16:30:36.174" v="6966" actId="47"/>
        <pc:sldMkLst>
          <pc:docMk/>
          <pc:sldMk cId="3116799561" sldId="2147483378"/>
        </pc:sldMkLst>
      </pc:sldChg>
      <pc:sldChg chg="addSp delSp modSp mod ord">
        <pc:chgData name="Munarriz Herrador Iñaki" userId="11637121-8aee-420b-9db7-54651cb06796" providerId="ADAL" clId="{C050DCA4-94CC-4AE4-AC4D-7DC423C906C0}" dt="2025-02-27T16:42:15.002" v="10184" actId="14100"/>
        <pc:sldMkLst>
          <pc:docMk/>
          <pc:sldMk cId="2818866366" sldId="2147483379"/>
        </pc:sldMkLst>
      </pc:sldChg>
      <pc:sldChg chg="del">
        <pc:chgData name="Munarriz Herrador Iñaki" userId="11637121-8aee-420b-9db7-54651cb06796" providerId="ADAL" clId="{C050DCA4-94CC-4AE4-AC4D-7DC423C906C0}" dt="2025-02-26T16:30:36.174" v="6966" actId="47"/>
        <pc:sldMkLst>
          <pc:docMk/>
          <pc:sldMk cId="2837213026" sldId="2147483380"/>
        </pc:sldMkLst>
      </pc:sldChg>
      <pc:sldChg chg="del">
        <pc:chgData name="Munarriz Herrador Iñaki" userId="11637121-8aee-420b-9db7-54651cb06796" providerId="ADAL" clId="{C050DCA4-94CC-4AE4-AC4D-7DC423C906C0}" dt="2025-02-26T16:30:36.174" v="6966" actId="47"/>
        <pc:sldMkLst>
          <pc:docMk/>
          <pc:sldMk cId="2100245951" sldId="2147483384"/>
        </pc:sldMkLst>
      </pc:sldChg>
      <pc:sldChg chg="del">
        <pc:chgData name="Munarriz Herrador Iñaki" userId="11637121-8aee-420b-9db7-54651cb06796" providerId="ADAL" clId="{C050DCA4-94CC-4AE4-AC4D-7DC423C906C0}" dt="2025-02-26T16:30:36.174" v="6966" actId="47"/>
        <pc:sldMkLst>
          <pc:docMk/>
          <pc:sldMk cId="2201393827" sldId="2147483386"/>
        </pc:sldMkLst>
      </pc:sldChg>
      <pc:sldChg chg="del">
        <pc:chgData name="Munarriz Herrador Iñaki" userId="11637121-8aee-420b-9db7-54651cb06796" providerId="ADAL" clId="{C050DCA4-94CC-4AE4-AC4D-7DC423C906C0}" dt="2025-02-26T16:30:36.174" v="6966" actId="47"/>
        <pc:sldMkLst>
          <pc:docMk/>
          <pc:sldMk cId="1177571145" sldId="2147483387"/>
        </pc:sldMkLst>
      </pc:sldChg>
      <pc:sldChg chg="addSp delSp modSp mod ord">
        <pc:chgData name="Munarriz Herrador Iñaki" userId="11637121-8aee-420b-9db7-54651cb06796" providerId="ADAL" clId="{C050DCA4-94CC-4AE4-AC4D-7DC423C906C0}" dt="2025-02-27T16:53:47.082" v="10556" actId="12789"/>
        <pc:sldMkLst>
          <pc:docMk/>
          <pc:sldMk cId="3033939552" sldId="2147483388"/>
        </pc:sldMkLst>
      </pc:sldChg>
      <pc:sldChg chg="addSp delSp modSp add mod">
        <pc:chgData name="Munarriz Herrador Iñaki" userId="11637121-8aee-420b-9db7-54651cb06796" providerId="ADAL" clId="{C050DCA4-94CC-4AE4-AC4D-7DC423C906C0}" dt="2025-02-27T15:59:41.673" v="9334" actId="123"/>
        <pc:sldMkLst>
          <pc:docMk/>
          <pc:sldMk cId="937404720" sldId="2147483389"/>
        </pc:sldMkLst>
      </pc:sldChg>
      <pc:sldChg chg="addSp delSp modSp add mod ord">
        <pc:chgData name="Munarriz Herrador Iñaki" userId="11637121-8aee-420b-9db7-54651cb06796" providerId="ADAL" clId="{C050DCA4-94CC-4AE4-AC4D-7DC423C906C0}" dt="2025-02-27T15:59:53.024" v="9336" actId="123"/>
        <pc:sldMkLst>
          <pc:docMk/>
          <pc:sldMk cId="538967907" sldId="2147483390"/>
        </pc:sldMkLst>
      </pc:sldChg>
      <pc:sldChg chg="addSp delSp modSp add mod">
        <pc:chgData name="Munarriz Herrador Iñaki" userId="11637121-8aee-420b-9db7-54651cb06796" providerId="ADAL" clId="{C050DCA4-94CC-4AE4-AC4D-7DC423C906C0}" dt="2025-02-27T15:59:45.894" v="9335" actId="123"/>
        <pc:sldMkLst>
          <pc:docMk/>
          <pc:sldMk cId="2900280720" sldId="2147483391"/>
        </pc:sldMkLst>
      </pc:sldChg>
      <pc:sldChg chg="addSp delSp modSp add mod">
        <pc:chgData name="Munarriz Herrador Iñaki" userId="11637121-8aee-420b-9db7-54651cb06796" providerId="ADAL" clId="{C050DCA4-94CC-4AE4-AC4D-7DC423C906C0}" dt="2025-02-27T15:59:32.666" v="9332" actId="123"/>
        <pc:sldMkLst>
          <pc:docMk/>
          <pc:sldMk cId="2732855569" sldId="2147483392"/>
        </pc:sldMkLst>
      </pc:sldChg>
      <pc:sldChg chg="addSp delSp modSp add mod">
        <pc:chgData name="Munarriz Herrador Iñaki" userId="11637121-8aee-420b-9db7-54651cb06796" providerId="ADAL" clId="{C050DCA4-94CC-4AE4-AC4D-7DC423C906C0}" dt="2025-02-27T16:21:15.418" v="9598" actId="1035"/>
        <pc:sldMkLst>
          <pc:docMk/>
          <pc:sldMk cId="45361350" sldId="2147483393"/>
        </pc:sldMkLst>
      </pc:sldChg>
      <pc:sldChg chg="add">
        <pc:chgData name="Munarriz Herrador Iñaki" userId="11637121-8aee-420b-9db7-54651cb06796" providerId="ADAL" clId="{C050DCA4-94CC-4AE4-AC4D-7DC423C906C0}" dt="2025-03-19T10:06:38.905" v="10557" actId="2890"/>
        <pc:sldMkLst>
          <pc:docMk/>
          <pc:sldMk cId="2930060632" sldId="2147483394"/>
        </pc:sldMkLst>
      </pc:sldChg>
      <pc:sldMasterChg chg="delSldLayout">
        <pc:chgData name="Munarriz Herrador Iñaki" userId="11637121-8aee-420b-9db7-54651cb06796" providerId="ADAL" clId="{C050DCA4-94CC-4AE4-AC4D-7DC423C906C0}" dt="2025-02-26T16:30:21.688" v="6965" actId="47"/>
        <pc:sldMasterMkLst>
          <pc:docMk/>
          <pc:sldMasterMk cId="3682351262" sldId="2147483732"/>
        </pc:sldMasterMkLst>
        <pc:sldLayoutChg chg="del">
          <pc:chgData name="Munarriz Herrador Iñaki" userId="11637121-8aee-420b-9db7-54651cb06796" providerId="ADAL" clId="{C050DCA4-94CC-4AE4-AC4D-7DC423C906C0}" dt="2025-02-26T16:30:21.688" v="6965" actId="47"/>
          <pc:sldLayoutMkLst>
            <pc:docMk/>
            <pc:sldMasterMk cId="3682351262" sldId="2147483732"/>
            <pc:sldLayoutMk cId="4212811066" sldId="214748388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4710"/>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4" y="0"/>
            <a:ext cx="2945659" cy="494710"/>
          </a:xfrm>
          <a:prstGeom prst="rect">
            <a:avLst/>
          </a:prstGeom>
        </p:spPr>
        <p:txBody>
          <a:bodyPr vert="horz" lIns="91440" tIns="45720" rIns="91440" bIns="45720" rtlCol="0"/>
          <a:lstStyle>
            <a:lvl1pPr algn="r">
              <a:defRPr sz="1200"/>
            </a:lvl1pPr>
          </a:lstStyle>
          <a:p>
            <a:fld id="{00D52AEF-820C-47F8-88FF-AC482D41B83D}" type="datetimeFigureOut">
              <a:rPr lang="es-ES" smtClean="0"/>
              <a:t>03/07/2025</a:t>
            </a:fld>
            <a:endParaRPr lang="es-ES"/>
          </a:p>
        </p:txBody>
      </p:sp>
      <p:sp>
        <p:nvSpPr>
          <p:cNvPr id="4" name="Marcador de imagen de diapositiva 3"/>
          <p:cNvSpPr>
            <a:spLocks noGrp="1" noRot="1" noChangeAspect="1"/>
          </p:cNvSpPr>
          <p:nvPr>
            <p:ph type="sldImg" idx="2"/>
          </p:nvPr>
        </p:nvSpPr>
        <p:spPr>
          <a:xfrm>
            <a:off x="439738" y="1231900"/>
            <a:ext cx="5918200" cy="3328988"/>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45107"/>
            <a:ext cx="5438140" cy="3882360"/>
          </a:xfrm>
          <a:prstGeom prst="rect">
            <a:avLst/>
          </a:prstGeom>
        </p:spPr>
        <p:txBody>
          <a:bodyPr vert="horz" lIns="91440" tIns="45720" rIns="91440" bIns="45720" rtlCol="0"/>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365255"/>
            <a:ext cx="2945659" cy="494709"/>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4" y="9365255"/>
            <a:ext cx="2945659" cy="494709"/>
          </a:xfrm>
          <a:prstGeom prst="rect">
            <a:avLst/>
          </a:prstGeom>
        </p:spPr>
        <p:txBody>
          <a:bodyPr vert="horz" lIns="91440" tIns="45720" rIns="91440" bIns="45720" rtlCol="0" anchor="b"/>
          <a:lstStyle>
            <a:lvl1pPr algn="r">
              <a:defRPr sz="1200"/>
            </a:lvl1pPr>
          </a:lstStyle>
          <a:p>
            <a:fld id="{8D50380B-E120-4098-ACE4-02CF6992DFB3}" type="slidenum">
              <a:rPr lang="es-ES" smtClean="0"/>
              <a:t>‹Nº›</a:t>
            </a:fld>
            <a:endParaRPr lang="es-ES"/>
          </a:p>
        </p:txBody>
      </p:sp>
    </p:spTree>
    <p:extLst>
      <p:ext uri="{BB962C8B-B14F-4D97-AF65-F5344CB8AC3E}">
        <p14:creationId xmlns:p14="http://schemas.microsoft.com/office/powerpoint/2010/main" val="34206101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533861-C159-FDD5-453E-71DE6E3C152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95DDF9E-1765-2076-E0E9-27A1886F369A}"/>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E2324492-DA30-F161-14A8-A02515CB2EF9}"/>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24FE6C80-91C2-F0A4-6826-9A1502847CEE}"/>
              </a:ext>
            </a:extLst>
          </p:cNvPr>
          <p:cNvSpPr>
            <a:spLocks noGrp="1"/>
          </p:cNvSpPr>
          <p:nvPr>
            <p:ph type="sldNum" sz="quarter" idx="5"/>
          </p:nvPr>
        </p:nvSpPr>
        <p:spPr/>
        <p:txBody>
          <a:bodyPr/>
          <a:lstStyle/>
          <a:p>
            <a:fld id="{8D50380B-E120-4098-ACE4-02CF6992DFB3}" type="slidenum">
              <a:rPr lang="es-ES" smtClean="0"/>
              <a:t>3</a:t>
            </a:fld>
            <a:endParaRPr lang="es-ES"/>
          </a:p>
        </p:txBody>
      </p:sp>
    </p:spTree>
    <p:extLst>
      <p:ext uri="{BB962C8B-B14F-4D97-AF65-F5344CB8AC3E}">
        <p14:creationId xmlns:p14="http://schemas.microsoft.com/office/powerpoint/2010/main" val="3020100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8A53A0-F84D-391A-B90C-795DC13A986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0396040-D03F-2F90-D53C-4F8099ED8619}"/>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5A68D204-5CF7-0838-5AC7-A7385CF66980}"/>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93C19B69-58C9-C0F8-199C-CC53C11DC6F3}"/>
              </a:ext>
            </a:extLst>
          </p:cNvPr>
          <p:cNvSpPr>
            <a:spLocks noGrp="1"/>
          </p:cNvSpPr>
          <p:nvPr>
            <p:ph type="sldNum" sz="quarter" idx="5"/>
          </p:nvPr>
        </p:nvSpPr>
        <p:spPr/>
        <p:txBody>
          <a:bodyPr/>
          <a:lstStyle/>
          <a:p>
            <a:fld id="{8D50380B-E120-4098-ACE4-02CF6992DFB3}" type="slidenum">
              <a:rPr lang="es-ES" smtClean="0"/>
              <a:t>12</a:t>
            </a:fld>
            <a:endParaRPr lang="es-ES"/>
          </a:p>
        </p:txBody>
      </p:sp>
    </p:spTree>
    <p:extLst>
      <p:ext uri="{BB962C8B-B14F-4D97-AF65-F5344CB8AC3E}">
        <p14:creationId xmlns:p14="http://schemas.microsoft.com/office/powerpoint/2010/main" val="59129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D855E6-D74C-A5B6-30F2-A86B75A007A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54C1F05-73D1-0803-C7F1-DA64C1AA80D7}"/>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7A0BEC9A-74EF-98CA-0EFF-065B76FC7D5D}"/>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2B5E35A6-A44F-38BD-899C-75C7AF3336D4}"/>
              </a:ext>
            </a:extLst>
          </p:cNvPr>
          <p:cNvSpPr>
            <a:spLocks noGrp="1"/>
          </p:cNvSpPr>
          <p:nvPr>
            <p:ph type="sldNum" sz="quarter" idx="5"/>
          </p:nvPr>
        </p:nvSpPr>
        <p:spPr/>
        <p:txBody>
          <a:bodyPr/>
          <a:lstStyle/>
          <a:p>
            <a:fld id="{8D50380B-E120-4098-ACE4-02CF6992DFB3}" type="slidenum">
              <a:rPr lang="es-ES" smtClean="0"/>
              <a:t>13</a:t>
            </a:fld>
            <a:endParaRPr lang="es-ES"/>
          </a:p>
        </p:txBody>
      </p:sp>
    </p:spTree>
    <p:extLst>
      <p:ext uri="{BB962C8B-B14F-4D97-AF65-F5344CB8AC3E}">
        <p14:creationId xmlns:p14="http://schemas.microsoft.com/office/powerpoint/2010/main" val="3373869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1748A0-EEAE-8B01-C21C-18625D48F95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D29A690-C38B-2C59-F103-6173FDCFF03E}"/>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66DDCCFF-159D-6307-C413-829759C35DF5}"/>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FD7DC4DB-F68A-B990-F502-09E6FBC1B385}"/>
              </a:ext>
            </a:extLst>
          </p:cNvPr>
          <p:cNvSpPr>
            <a:spLocks noGrp="1"/>
          </p:cNvSpPr>
          <p:nvPr>
            <p:ph type="sldNum" sz="quarter" idx="5"/>
          </p:nvPr>
        </p:nvSpPr>
        <p:spPr/>
        <p:txBody>
          <a:bodyPr/>
          <a:lstStyle/>
          <a:p>
            <a:fld id="{8D50380B-E120-4098-ACE4-02CF6992DFB3}" type="slidenum">
              <a:rPr lang="es-ES" smtClean="0"/>
              <a:t>14</a:t>
            </a:fld>
            <a:endParaRPr lang="es-ES"/>
          </a:p>
        </p:txBody>
      </p:sp>
    </p:spTree>
    <p:extLst>
      <p:ext uri="{BB962C8B-B14F-4D97-AF65-F5344CB8AC3E}">
        <p14:creationId xmlns:p14="http://schemas.microsoft.com/office/powerpoint/2010/main" val="10496794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B3EA1C-1CBB-A7C1-A1D4-AD8CD8BEF42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B64D459-BB38-38D4-7EC1-AC56E4C7D93D}"/>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D050907F-8744-F89F-1A68-AAEDED17F174}"/>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EEA807C0-F70D-D082-5456-72859EA7774C}"/>
              </a:ext>
            </a:extLst>
          </p:cNvPr>
          <p:cNvSpPr>
            <a:spLocks noGrp="1"/>
          </p:cNvSpPr>
          <p:nvPr>
            <p:ph type="sldNum" sz="quarter" idx="5"/>
          </p:nvPr>
        </p:nvSpPr>
        <p:spPr/>
        <p:txBody>
          <a:bodyPr/>
          <a:lstStyle/>
          <a:p>
            <a:fld id="{8D50380B-E120-4098-ACE4-02CF6992DFB3}" type="slidenum">
              <a:rPr lang="es-ES" smtClean="0"/>
              <a:t>15</a:t>
            </a:fld>
            <a:endParaRPr lang="es-ES"/>
          </a:p>
        </p:txBody>
      </p:sp>
    </p:spTree>
    <p:extLst>
      <p:ext uri="{BB962C8B-B14F-4D97-AF65-F5344CB8AC3E}">
        <p14:creationId xmlns:p14="http://schemas.microsoft.com/office/powerpoint/2010/main" val="25499920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85DA5-AF49-35F7-AB2F-E5631DDDD30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71220A5-EB1A-E250-7473-1F29BA042231}"/>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454F96A8-7FFB-8114-FB11-23F4CC12A0A5}"/>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9AFFA54-806D-9406-D636-71811DAC62C7}"/>
              </a:ext>
            </a:extLst>
          </p:cNvPr>
          <p:cNvSpPr>
            <a:spLocks noGrp="1"/>
          </p:cNvSpPr>
          <p:nvPr>
            <p:ph type="sldNum" sz="quarter" idx="5"/>
          </p:nvPr>
        </p:nvSpPr>
        <p:spPr/>
        <p:txBody>
          <a:bodyPr/>
          <a:lstStyle/>
          <a:p>
            <a:fld id="{8D50380B-E120-4098-ACE4-02CF6992DFB3}" type="slidenum">
              <a:rPr lang="es-ES" smtClean="0"/>
              <a:t>16</a:t>
            </a:fld>
            <a:endParaRPr lang="es-ES"/>
          </a:p>
        </p:txBody>
      </p:sp>
    </p:spTree>
    <p:extLst>
      <p:ext uri="{BB962C8B-B14F-4D97-AF65-F5344CB8AC3E}">
        <p14:creationId xmlns:p14="http://schemas.microsoft.com/office/powerpoint/2010/main" val="36092072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5CBEC-AFDD-BE1D-822A-7F39272117B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A35E918-7A04-BC5B-D8F2-B3611C9F6730}"/>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0C8EA30F-1F40-CEC7-5ED9-95F31C7A2AB1}"/>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D9DD7FC2-B7FC-F745-2986-BE413D49B289}"/>
              </a:ext>
            </a:extLst>
          </p:cNvPr>
          <p:cNvSpPr>
            <a:spLocks noGrp="1"/>
          </p:cNvSpPr>
          <p:nvPr>
            <p:ph type="sldNum" sz="quarter" idx="5"/>
          </p:nvPr>
        </p:nvSpPr>
        <p:spPr/>
        <p:txBody>
          <a:bodyPr/>
          <a:lstStyle/>
          <a:p>
            <a:fld id="{8D50380B-E120-4098-ACE4-02CF6992DFB3}" type="slidenum">
              <a:rPr lang="es-ES" smtClean="0"/>
              <a:t>17</a:t>
            </a:fld>
            <a:endParaRPr lang="es-ES"/>
          </a:p>
        </p:txBody>
      </p:sp>
    </p:spTree>
    <p:extLst>
      <p:ext uri="{BB962C8B-B14F-4D97-AF65-F5344CB8AC3E}">
        <p14:creationId xmlns:p14="http://schemas.microsoft.com/office/powerpoint/2010/main" val="40812408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A2C5D-21BC-6E80-B03A-CFE9082634C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4E8DE02-C52D-3C1C-E31B-98CC97A1227F}"/>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F9F910C8-328C-1649-FB7A-6924CE7B0E21}"/>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196C1DA2-113F-83A0-4DFC-4C6AD16E0A47}"/>
              </a:ext>
            </a:extLst>
          </p:cNvPr>
          <p:cNvSpPr>
            <a:spLocks noGrp="1"/>
          </p:cNvSpPr>
          <p:nvPr>
            <p:ph type="sldNum" sz="quarter" idx="5"/>
          </p:nvPr>
        </p:nvSpPr>
        <p:spPr/>
        <p:txBody>
          <a:bodyPr/>
          <a:lstStyle/>
          <a:p>
            <a:fld id="{8D50380B-E120-4098-ACE4-02CF6992DFB3}" type="slidenum">
              <a:rPr lang="es-ES" smtClean="0"/>
              <a:t>18</a:t>
            </a:fld>
            <a:endParaRPr lang="es-ES"/>
          </a:p>
        </p:txBody>
      </p:sp>
    </p:spTree>
    <p:extLst>
      <p:ext uri="{BB962C8B-B14F-4D97-AF65-F5344CB8AC3E}">
        <p14:creationId xmlns:p14="http://schemas.microsoft.com/office/powerpoint/2010/main" val="33682683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34E05-2C3A-42D1-4B8F-0DB7A913D9F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C2C788B-8E72-AF30-5D08-99E9C5491252}"/>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B76F3FF7-4AE7-E0F4-544C-6CFAED60B43B}"/>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E47D0B96-E878-10A1-69BB-EE7636DB588F}"/>
              </a:ext>
            </a:extLst>
          </p:cNvPr>
          <p:cNvSpPr>
            <a:spLocks noGrp="1"/>
          </p:cNvSpPr>
          <p:nvPr>
            <p:ph type="sldNum" sz="quarter" idx="5"/>
          </p:nvPr>
        </p:nvSpPr>
        <p:spPr/>
        <p:txBody>
          <a:bodyPr/>
          <a:lstStyle/>
          <a:p>
            <a:fld id="{8D50380B-E120-4098-ACE4-02CF6992DFB3}" type="slidenum">
              <a:rPr lang="es-ES" smtClean="0"/>
              <a:t>19</a:t>
            </a:fld>
            <a:endParaRPr lang="es-ES"/>
          </a:p>
        </p:txBody>
      </p:sp>
    </p:spTree>
    <p:extLst>
      <p:ext uri="{BB962C8B-B14F-4D97-AF65-F5344CB8AC3E}">
        <p14:creationId xmlns:p14="http://schemas.microsoft.com/office/powerpoint/2010/main" val="26662309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BCE95B-B840-D56D-E84D-3B0B71F168E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25D42FD-2311-EF26-99EE-31B3F0AD8D3B}"/>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EB1D91CE-8A81-B6E8-4D17-26215598A6FE}"/>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0E53E52-7230-1405-F947-66F725B113F3}"/>
              </a:ext>
            </a:extLst>
          </p:cNvPr>
          <p:cNvSpPr>
            <a:spLocks noGrp="1"/>
          </p:cNvSpPr>
          <p:nvPr>
            <p:ph type="sldNum" sz="quarter" idx="5"/>
          </p:nvPr>
        </p:nvSpPr>
        <p:spPr/>
        <p:txBody>
          <a:bodyPr/>
          <a:lstStyle/>
          <a:p>
            <a:fld id="{8D50380B-E120-4098-ACE4-02CF6992DFB3}" type="slidenum">
              <a:rPr lang="es-ES" smtClean="0"/>
              <a:t>4</a:t>
            </a:fld>
            <a:endParaRPr lang="es-ES"/>
          </a:p>
        </p:txBody>
      </p:sp>
    </p:spTree>
    <p:extLst>
      <p:ext uri="{BB962C8B-B14F-4D97-AF65-F5344CB8AC3E}">
        <p14:creationId xmlns:p14="http://schemas.microsoft.com/office/powerpoint/2010/main" val="1452972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29C5C-A253-38EF-4BD4-6FC1DB6923E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B25BD0B-3FE9-09FF-5FA7-50AA103B5FAC}"/>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1EDE0598-C03D-1BC6-0C14-849A62B04FA8}"/>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C89A195A-6F99-3CF2-4F74-8F21C76E1DDB}"/>
              </a:ext>
            </a:extLst>
          </p:cNvPr>
          <p:cNvSpPr>
            <a:spLocks noGrp="1"/>
          </p:cNvSpPr>
          <p:nvPr>
            <p:ph type="sldNum" sz="quarter" idx="5"/>
          </p:nvPr>
        </p:nvSpPr>
        <p:spPr/>
        <p:txBody>
          <a:bodyPr/>
          <a:lstStyle/>
          <a:p>
            <a:fld id="{8D50380B-E120-4098-ACE4-02CF6992DFB3}" type="slidenum">
              <a:rPr lang="es-ES" smtClean="0"/>
              <a:t>5</a:t>
            </a:fld>
            <a:endParaRPr lang="es-ES"/>
          </a:p>
        </p:txBody>
      </p:sp>
    </p:spTree>
    <p:extLst>
      <p:ext uri="{BB962C8B-B14F-4D97-AF65-F5344CB8AC3E}">
        <p14:creationId xmlns:p14="http://schemas.microsoft.com/office/powerpoint/2010/main" val="2551382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E2DD83-374A-A6AD-E7AB-D8E04B9862C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CCFF3F0-CE5A-1395-BE71-21F473C5E276}"/>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4EE432F7-4A03-57F5-08A6-590B2C12FFDF}"/>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1FAF7333-23C8-4DF8-FB4F-2E16B86C5281}"/>
              </a:ext>
            </a:extLst>
          </p:cNvPr>
          <p:cNvSpPr>
            <a:spLocks noGrp="1"/>
          </p:cNvSpPr>
          <p:nvPr>
            <p:ph type="sldNum" sz="quarter" idx="5"/>
          </p:nvPr>
        </p:nvSpPr>
        <p:spPr/>
        <p:txBody>
          <a:bodyPr/>
          <a:lstStyle/>
          <a:p>
            <a:fld id="{8D50380B-E120-4098-ACE4-02CF6992DFB3}" type="slidenum">
              <a:rPr lang="es-ES" smtClean="0"/>
              <a:t>6</a:t>
            </a:fld>
            <a:endParaRPr lang="es-ES"/>
          </a:p>
        </p:txBody>
      </p:sp>
    </p:spTree>
    <p:extLst>
      <p:ext uri="{BB962C8B-B14F-4D97-AF65-F5344CB8AC3E}">
        <p14:creationId xmlns:p14="http://schemas.microsoft.com/office/powerpoint/2010/main" val="4141456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71DE5-29F5-4071-693B-A9031298534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2D4BA27-98E4-51DE-D2CC-8A2189EDC52F}"/>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1AD4A095-FC3B-B34E-015C-5714F1EDA2DE}"/>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98FFAD3E-3C37-DCB2-046A-EFA2DB9918E4}"/>
              </a:ext>
            </a:extLst>
          </p:cNvPr>
          <p:cNvSpPr>
            <a:spLocks noGrp="1"/>
          </p:cNvSpPr>
          <p:nvPr>
            <p:ph type="sldNum" sz="quarter" idx="5"/>
          </p:nvPr>
        </p:nvSpPr>
        <p:spPr/>
        <p:txBody>
          <a:bodyPr/>
          <a:lstStyle/>
          <a:p>
            <a:fld id="{8D50380B-E120-4098-ACE4-02CF6992DFB3}" type="slidenum">
              <a:rPr lang="es-ES" smtClean="0"/>
              <a:t>7</a:t>
            </a:fld>
            <a:endParaRPr lang="es-ES"/>
          </a:p>
        </p:txBody>
      </p:sp>
    </p:spTree>
    <p:extLst>
      <p:ext uri="{BB962C8B-B14F-4D97-AF65-F5344CB8AC3E}">
        <p14:creationId xmlns:p14="http://schemas.microsoft.com/office/powerpoint/2010/main" val="37561537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04710-01A0-C5F7-E403-67B7F326D15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6DCD9D-59BA-2A2E-D2F0-79AE9CB79D6B}"/>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63823B69-7D75-DC73-B3FA-1C2FAD192D06}"/>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EE7A5E62-E930-9CA9-BF80-971B851844C5}"/>
              </a:ext>
            </a:extLst>
          </p:cNvPr>
          <p:cNvSpPr>
            <a:spLocks noGrp="1"/>
          </p:cNvSpPr>
          <p:nvPr>
            <p:ph type="sldNum" sz="quarter" idx="5"/>
          </p:nvPr>
        </p:nvSpPr>
        <p:spPr/>
        <p:txBody>
          <a:bodyPr/>
          <a:lstStyle/>
          <a:p>
            <a:fld id="{8D50380B-E120-4098-ACE4-02CF6992DFB3}" type="slidenum">
              <a:rPr lang="es-ES" smtClean="0"/>
              <a:t>8</a:t>
            </a:fld>
            <a:endParaRPr lang="es-ES"/>
          </a:p>
        </p:txBody>
      </p:sp>
    </p:spTree>
    <p:extLst>
      <p:ext uri="{BB962C8B-B14F-4D97-AF65-F5344CB8AC3E}">
        <p14:creationId xmlns:p14="http://schemas.microsoft.com/office/powerpoint/2010/main" val="597525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7CD86-8D70-6697-CA5A-60EDDA39F18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BA9D689-63B2-3AF1-710A-CDC591C30089}"/>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6C3A82AB-1DA9-0D3C-BD53-64BC5C991467}"/>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F1C603E3-D497-3BA1-9EF6-681550767BBD}"/>
              </a:ext>
            </a:extLst>
          </p:cNvPr>
          <p:cNvSpPr>
            <a:spLocks noGrp="1"/>
          </p:cNvSpPr>
          <p:nvPr>
            <p:ph type="sldNum" sz="quarter" idx="5"/>
          </p:nvPr>
        </p:nvSpPr>
        <p:spPr/>
        <p:txBody>
          <a:bodyPr/>
          <a:lstStyle/>
          <a:p>
            <a:fld id="{8D50380B-E120-4098-ACE4-02CF6992DFB3}" type="slidenum">
              <a:rPr lang="es-ES" smtClean="0"/>
              <a:t>9</a:t>
            </a:fld>
            <a:endParaRPr lang="es-ES"/>
          </a:p>
        </p:txBody>
      </p:sp>
    </p:spTree>
    <p:extLst>
      <p:ext uri="{BB962C8B-B14F-4D97-AF65-F5344CB8AC3E}">
        <p14:creationId xmlns:p14="http://schemas.microsoft.com/office/powerpoint/2010/main" val="1570429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CCE0A3-FFD5-07A1-8E51-5B2F0E3577B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A4A4991-E975-4F53-709A-B7540C84BB1A}"/>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584DF529-C5C9-93B6-DF35-69BD51B056B2}"/>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CB404E8-884D-F1A1-74D8-D2D2BAFDD9AA}"/>
              </a:ext>
            </a:extLst>
          </p:cNvPr>
          <p:cNvSpPr>
            <a:spLocks noGrp="1"/>
          </p:cNvSpPr>
          <p:nvPr>
            <p:ph type="sldNum" sz="quarter" idx="5"/>
          </p:nvPr>
        </p:nvSpPr>
        <p:spPr/>
        <p:txBody>
          <a:bodyPr/>
          <a:lstStyle/>
          <a:p>
            <a:fld id="{8D50380B-E120-4098-ACE4-02CF6992DFB3}" type="slidenum">
              <a:rPr lang="es-ES" smtClean="0"/>
              <a:t>10</a:t>
            </a:fld>
            <a:endParaRPr lang="es-ES"/>
          </a:p>
        </p:txBody>
      </p:sp>
    </p:spTree>
    <p:extLst>
      <p:ext uri="{BB962C8B-B14F-4D97-AF65-F5344CB8AC3E}">
        <p14:creationId xmlns:p14="http://schemas.microsoft.com/office/powerpoint/2010/main" val="31786750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B437B-480C-51ED-87A2-B681A411F04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160E343-F440-6EC7-E05B-454ACBB2A6EB}"/>
              </a:ext>
            </a:extLst>
          </p:cNvPr>
          <p:cNvSpPr>
            <a:spLocks noGrp="1" noRot="1" noChangeAspect="1"/>
          </p:cNvSpPr>
          <p:nvPr>
            <p:ph type="sldImg"/>
          </p:nvPr>
        </p:nvSpPr>
        <p:spPr>
          <a:xfrm>
            <a:off x="439738" y="1231900"/>
            <a:ext cx="5918200" cy="3328988"/>
          </a:xfrm>
        </p:spPr>
      </p:sp>
      <p:sp>
        <p:nvSpPr>
          <p:cNvPr id="3" name="Marcador de notas 2">
            <a:extLst>
              <a:ext uri="{FF2B5EF4-FFF2-40B4-BE49-F238E27FC236}">
                <a16:creationId xmlns:a16="http://schemas.microsoft.com/office/drawing/2014/main" id="{1155422F-9AC0-1577-3DA2-4DD662ABF217}"/>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57174225-CC3D-D8C6-114E-38855098D0E2}"/>
              </a:ext>
            </a:extLst>
          </p:cNvPr>
          <p:cNvSpPr>
            <a:spLocks noGrp="1"/>
          </p:cNvSpPr>
          <p:nvPr>
            <p:ph type="sldNum" sz="quarter" idx="5"/>
          </p:nvPr>
        </p:nvSpPr>
        <p:spPr/>
        <p:txBody>
          <a:bodyPr/>
          <a:lstStyle/>
          <a:p>
            <a:fld id="{8D50380B-E120-4098-ACE4-02CF6992DFB3}" type="slidenum">
              <a:rPr lang="es-ES" smtClean="0"/>
              <a:t>11</a:t>
            </a:fld>
            <a:endParaRPr lang="es-ES"/>
          </a:p>
        </p:txBody>
      </p:sp>
    </p:spTree>
    <p:extLst>
      <p:ext uri="{BB962C8B-B14F-4D97-AF65-F5344CB8AC3E}">
        <p14:creationId xmlns:p14="http://schemas.microsoft.com/office/powerpoint/2010/main" val="17492677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01">
    <p:spTree>
      <p:nvGrpSpPr>
        <p:cNvPr id="1" name=""/>
        <p:cNvGrpSpPr/>
        <p:nvPr/>
      </p:nvGrpSpPr>
      <p:grpSpPr>
        <a:xfrm>
          <a:off x="0" y="0"/>
          <a:ext cx="0" cy="0"/>
          <a:chOff x="0" y="0"/>
          <a:chExt cx="0" cy="0"/>
        </a:xfrm>
      </p:grpSpPr>
      <p:pic>
        <p:nvPicPr>
          <p:cNvPr id="11" name="Imagen 10" descr="Persona en bicicleta en la calle&#10;&#10;Descripción generada automáticamente">
            <a:extLst>
              <a:ext uri="{FF2B5EF4-FFF2-40B4-BE49-F238E27FC236}">
                <a16:creationId xmlns:a16="http://schemas.microsoft.com/office/drawing/2014/main" id="{4267E86C-51F4-46D7-B611-7A1D08C948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64675" y="0"/>
            <a:ext cx="8013192" cy="6858000"/>
          </a:xfrm>
          <a:prstGeom prst="rect">
            <a:avLst/>
          </a:prstGeom>
        </p:spPr>
      </p:pic>
      <p:grpSp>
        <p:nvGrpSpPr>
          <p:cNvPr id="9" name="Grupo 8">
            <a:extLst>
              <a:ext uri="{FF2B5EF4-FFF2-40B4-BE49-F238E27FC236}">
                <a16:creationId xmlns:a16="http://schemas.microsoft.com/office/drawing/2014/main" id="{BB57EE8B-DF98-45CD-B769-4B655A96F751}"/>
              </a:ext>
            </a:extLst>
          </p:cNvPr>
          <p:cNvGrpSpPr/>
          <p:nvPr userDrawn="1"/>
        </p:nvGrpSpPr>
        <p:grpSpPr>
          <a:xfrm>
            <a:off x="-12700" y="0"/>
            <a:ext cx="4864100" cy="6858000"/>
            <a:chOff x="-756458" y="0"/>
            <a:chExt cx="4655357" cy="6858000"/>
          </a:xfrm>
          <a:solidFill>
            <a:srgbClr val="F6F6F6"/>
          </a:solidFill>
        </p:grpSpPr>
        <p:sp>
          <p:nvSpPr>
            <p:cNvPr id="10" name="Rectángulo 9">
              <a:extLst>
                <a:ext uri="{FF2B5EF4-FFF2-40B4-BE49-F238E27FC236}">
                  <a16:creationId xmlns:a16="http://schemas.microsoft.com/office/drawing/2014/main" id="{DD3C2D2D-54E9-48E1-B01F-2B83D2704E76}"/>
                </a:ext>
              </a:extLst>
            </p:cNvPr>
            <p:cNvSpPr/>
            <p:nvPr userDrawn="1"/>
          </p:nvSpPr>
          <p:spPr>
            <a:xfrm>
              <a:off x="-756458" y="0"/>
              <a:ext cx="4655357"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5" name="Rectángulo 14">
              <a:extLst>
                <a:ext uri="{FF2B5EF4-FFF2-40B4-BE49-F238E27FC236}">
                  <a16:creationId xmlns:a16="http://schemas.microsoft.com/office/drawing/2014/main" id="{EDCB4A4F-9F0A-440B-BF78-8F6A92C7AA0F}"/>
                </a:ext>
              </a:extLst>
            </p:cNvPr>
            <p:cNvSpPr/>
            <p:nvPr userDrawn="1"/>
          </p:nvSpPr>
          <p:spPr>
            <a:xfrm>
              <a:off x="-756458" y="2273300"/>
              <a:ext cx="4069311"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7" name="Título 1">
            <a:extLst>
              <a:ext uri="{FF2B5EF4-FFF2-40B4-BE49-F238E27FC236}">
                <a16:creationId xmlns:a16="http://schemas.microsoft.com/office/drawing/2014/main" id="{FBDFF754-EDB8-4E81-BCD5-E07138795009}"/>
              </a:ext>
            </a:extLst>
          </p:cNvPr>
          <p:cNvSpPr>
            <a:spLocks noGrp="1"/>
          </p:cNvSpPr>
          <p:nvPr>
            <p:ph type="ctrTitle" hasCustomPrompt="1"/>
          </p:nvPr>
        </p:nvSpPr>
        <p:spPr>
          <a:xfrm>
            <a:off x="419100" y="736169"/>
            <a:ext cx="3745575" cy="1174928"/>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br>
              <a:rPr lang="es-ES" dirty="0"/>
            </a:br>
            <a:r>
              <a:rPr lang="es-ES" dirty="0" err="1"/>
              <a:t>add</a:t>
            </a:r>
            <a:r>
              <a:rPr lang="es-ES" dirty="0"/>
              <a:t> </a:t>
            </a:r>
            <a:r>
              <a:rPr lang="es-ES" dirty="0" err="1"/>
              <a:t>title</a:t>
            </a:r>
            <a:endParaRPr lang="es-ES" dirty="0"/>
          </a:p>
        </p:txBody>
      </p:sp>
      <p:sp>
        <p:nvSpPr>
          <p:cNvPr id="18" name="Subtítulo 2">
            <a:extLst>
              <a:ext uri="{FF2B5EF4-FFF2-40B4-BE49-F238E27FC236}">
                <a16:creationId xmlns:a16="http://schemas.microsoft.com/office/drawing/2014/main" id="{A6D070AE-1992-4212-B9A7-D33AB83D5A45}"/>
              </a:ext>
            </a:extLst>
          </p:cNvPr>
          <p:cNvSpPr>
            <a:spLocks noGrp="1"/>
          </p:cNvSpPr>
          <p:nvPr>
            <p:ph type="subTitle" idx="1" hasCustomPrompt="1"/>
          </p:nvPr>
        </p:nvSpPr>
        <p:spPr>
          <a:xfrm>
            <a:off x="419100" y="1936315"/>
            <a:ext cx="3759709"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pic>
        <p:nvPicPr>
          <p:cNvPr id="13" name="Gráfico 12">
            <a:extLst>
              <a:ext uri="{FF2B5EF4-FFF2-40B4-BE49-F238E27FC236}">
                <a16:creationId xmlns:a16="http://schemas.microsoft.com/office/drawing/2014/main" id="{3D412860-04C7-46B9-BE93-8051E5FC02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100" y="6050674"/>
            <a:ext cx="2262550" cy="391058"/>
          </a:xfrm>
          <a:prstGeom prst="rect">
            <a:avLst/>
          </a:prstGeom>
        </p:spPr>
      </p:pic>
    </p:spTree>
    <p:extLst>
      <p:ext uri="{BB962C8B-B14F-4D97-AF65-F5344CB8AC3E}">
        <p14:creationId xmlns:p14="http://schemas.microsoft.com/office/powerpoint/2010/main" val="1678054779"/>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dex_05">
    <p:spTree>
      <p:nvGrpSpPr>
        <p:cNvPr id="1" name=""/>
        <p:cNvGrpSpPr/>
        <p:nvPr/>
      </p:nvGrpSpPr>
      <p:grpSpPr>
        <a:xfrm>
          <a:off x="0" y="0"/>
          <a:ext cx="0" cy="0"/>
          <a:chOff x="0" y="0"/>
          <a:chExt cx="0" cy="0"/>
        </a:xfrm>
      </p:grpSpPr>
      <p:pic>
        <p:nvPicPr>
          <p:cNvPr id="4" name="Imagen 3" descr="Una persona hablando por teléfono en la calle&#10;&#10;Descripción generada automáticamente con confianza baja">
            <a:extLst>
              <a:ext uri="{FF2B5EF4-FFF2-40B4-BE49-F238E27FC236}">
                <a16:creationId xmlns:a16="http://schemas.microsoft.com/office/drawing/2014/main" id="{4941AD11-3321-4750-AD4C-93EA9F7426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65369" y="875626"/>
            <a:ext cx="6226631" cy="5982374"/>
          </a:xfrm>
          <a:prstGeom prst="rect">
            <a:avLst/>
          </a:prstGeom>
        </p:spPr>
      </p:pic>
      <p:cxnSp>
        <p:nvCxnSpPr>
          <p:cNvPr id="3" name="Conector recto 2">
            <a:extLst>
              <a:ext uri="{FF2B5EF4-FFF2-40B4-BE49-F238E27FC236}">
                <a16:creationId xmlns:a16="http://schemas.microsoft.com/office/drawing/2014/main" id="{379A0E88-5C43-43D5-9A31-7B355FD4C632}"/>
              </a:ext>
            </a:extLst>
          </p:cNvPr>
          <p:cNvCxnSpPr>
            <a:cxnSpLocks/>
          </p:cNvCxnSpPr>
          <p:nvPr userDrawn="1"/>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E756615C-F2F6-4E87-8FE8-9CE4D51C239F}"/>
              </a:ext>
            </a:extLst>
          </p:cNvPr>
          <p:cNvCxnSpPr>
            <a:cxnSpLocks/>
          </p:cNvCxnSpPr>
          <p:nvPr userDrawn="1"/>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8308456"/>
      </p:ext>
    </p:extLst>
  </p:cSld>
  <p:clrMapOvr>
    <a:masterClrMapping/>
  </p:clrMapOvr>
  <p:extLst>
    <p:ext uri="{DCECCB84-F9BA-43D5-87BE-67443E8EF086}">
      <p15:sldGuideLst xmlns:p15="http://schemas.microsoft.com/office/powerpoint/2012/main">
        <p15:guide id="1" pos="325" userDrawn="1">
          <p15:clr>
            <a:srgbClr val="FBAE40"/>
          </p15:clr>
        </p15:guide>
        <p15:guide id="2" pos="61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rase_Impact_01">
    <p:spTree>
      <p:nvGrpSpPr>
        <p:cNvPr id="1" name=""/>
        <p:cNvGrpSpPr/>
        <p:nvPr/>
      </p:nvGrpSpPr>
      <p:grpSpPr>
        <a:xfrm>
          <a:off x="0" y="0"/>
          <a:ext cx="0" cy="0"/>
          <a:chOff x="0" y="0"/>
          <a:chExt cx="0" cy="0"/>
        </a:xfrm>
      </p:grpSpPr>
      <p:pic>
        <p:nvPicPr>
          <p:cNvPr id="5" name="Imagen 4" descr="Persona en bicicleta en la calle&#10;&#10;Descripción generada automáticamente">
            <a:extLst>
              <a:ext uri="{FF2B5EF4-FFF2-40B4-BE49-F238E27FC236}">
                <a16:creationId xmlns:a16="http://schemas.microsoft.com/office/drawing/2014/main" id="{2BB35CB8-2843-4486-AF30-CC8D6B22DE4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35"/>
          <a:stretch/>
        </p:blipFill>
        <p:spPr>
          <a:xfrm>
            <a:off x="-1" y="653143"/>
            <a:ext cx="12191999" cy="6204857"/>
          </a:xfrm>
          <a:prstGeom prst="rect">
            <a:avLst/>
          </a:prstGeom>
        </p:spPr>
      </p:pic>
      <p:sp>
        <p:nvSpPr>
          <p:cNvPr id="12" name="Título 1">
            <a:extLst>
              <a:ext uri="{FF2B5EF4-FFF2-40B4-BE49-F238E27FC236}">
                <a16:creationId xmlns:a16="http://schemas.microsoft.com/office/drawing/2014/main" id="{89E79BD3-ED04-4E11-8162-5388EE3EB423}"/>
              </a:ext>
            </a:extLst>
          </p:cNvPr>
          <p:cNvSpPr>
            <a:spLocks noGrp="1"/>
          </p:cNvSpPr>
          <p:nvPr>
            <p:ph type="ctrTitle" hasCustomPrompt="1"/>
          </p:nvPr>
        </p:nvSpPr>
        <p:spPr>
          <a:xfrm>
            <a:off x="515939" y="1409703"/>
            <a:ext cx="1915027" cy="893885"/>
          </a:xfrm>
          <a:prstGeom prst="rect">
            <a:avLst/>
          </a:prstGeom>
        </p:spPr>
        <p:txBody>
          <a:bodyPr lIns="0" tIns="0" rIns="0" bIns="0" anchor="t" anchorCtr="0">
            <a:noAutofit/>
          </a:bodyPr>
          <a:lstStyle>
            <a:lvl1pPr algn="l">
              <a:defRPr sz="3200">
                <a:solidFill>
                  <a:schemeClr val="bg1"/>
                </a:solidFill>
                <a:latin typeface="Santander Headline" panose="020B0504020201020104" pitchFamily="34" charset="0"/>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2939386406"/>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rase_Impact_01 lines">
    <p:spTree>
      <p:nvGrpSpPr>
        <p:cNvPr id="1" name=""/>
        <p:cNvGrpSpPr/>
        <p:nvPr/>
      </p:nvGrpSpPr>
      <p:grpSpPr>
        <a:xfrm>
          <a:off x="0" y="0"/>
          <a:ext cx="0" cy="0"/>
          <a:chOff x="0" y="0"/>
          <a:chExt cx="0" cy="0"/>
        </a:xfrm>
      </p:grpSpPr>
      <p:pic>
        <p:nvPicPr>
          <p:cNvPr id="5" name="Imagen 4" descr="Persona en bicicleta en la calle&#10;&#10;Descripción generada automáticamente">
            <a:extLst>
              <a:ext uri="{FF2B5EF4-FFF2-40B4-BE49-F238E27FC236}">
                <a16:creationId xmlns:a16="http://schemas.microsoft.com/office/drawing/2014/main" id="{2BB35CB8-2843-4486-AF30-CC8D6B22DE4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235"/>
          <a:stretch/>
        </p:blipFill>
        <p:spPr>
          <a:xfrm>
            <a:off x="-1" y="653143"/>
            <a:ext cx="12191999" cy="6204857"/>
          </a:xfrm>
          <a:prstGeom prst="rect">
            <a:avLst/>
          </a:prstGeom>
        </p:spPr>
      </p:pic>
      <p:cxnSp>
        <p:nvCxnSpPr>
          <p:cNvPr id="6" name="Conector recto 5">
            <a:extLst>
              <a:ext uri="{FF2B5EF4-FFF2-40B4-BE49-F238E27FC236}">
                <a16:creationId xmlns:a16="http://schemas.microsoft.com/office/drawing/2014/main" id="{EB20E1A8-28A8-4DD8-95F7-3AF0547DBAC0}"/>
              </a:ext>
            </a:extLst>
          </p:cNvPr>
          <p:cNvCxnSpPr>
            <a:cxnSpLocks/>
          </p:cNvCxnSpPr>
          <p:nvPr userDrawn="1"/>
        </p:nvCxnSpPr>
        <p:spPr>
          <a:xfrm>
            <a:off x="2274570" y="260032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5033C59A-0EF0-4472-BD1A-A1A51660E922}"/>
              </a:ext>
            </a:extLst>
          </p:cNvPr>
          <p:cNvCxnSpPr>
            <a:cxnSpLocks/>
          </p:cNvCxnSpPr>
          <p:nvPr userDrawn="1"/>
        </p:nvCxnSpPr>
        <p:spPr>
          <a:xfrm>
            <a:off x="6106632" y="214914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25BF70F4-0781-44A8-91C3-F85682BB1C98}"/>
              </a:ext>
            </a:extLst>
          </p:cNvPr>
          <p:cNvSpPr>
            <a:spLocks noGrp="1"/>
          </p:cNvSpPr>
          <p:nvPr>
            <p:ph type="body" sz="quarter" idx="48" hasCustomPrompt="1"/>
          </p:nvPr>
        </p:nvSpPr>
        <p:spPr>
          <a:xfrm>
            <a:off x="6298969" y="142826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9" name="Marcador de texto 4">
            <a:extLst>
              <a:ext uri="{FF2B5EF4-FFF2-40B4-BE49-F238E27FC236}">
                <a16:creationId xmlns:a16="http://schemas.microsoft.com/office/drawing/2014/main" id="{E82900D6-E4AB-494C-AAC5-EC6B37620D36}"/>
              </a:ext>
            </a:extLst>
          </p:cNvPr>
          <p:cNvSpPr>
            <a:spLocks noGrp="1"/>
          </p:cNvSpPr>
          <p:nvPr>
            <p:ph type="body" sz="quarter" idx="49" hasCustomPrompt="1"/>
          </p:nvPr>
        </p:nvSpPr>
        <p:spPr>
          <a:xfrm>
            <a:off x="2270719" y="188132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1457315577"/>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rase_Impact_02">
    <p:spTree>
      <p:nvGrpSpPr>
        <p:cNvPr id="1" name=""/>
        <p:cNvGrpSpPr/>
        <p:nvPr/>
      </p:nvGrpSpPr>
      <p:grpSpPr>
        <a:xfrm>
          <a:off x="0" y="0"/>
          <a:ext cx="0" cy="0"/>
          <a:chOff x="0" y="0"/>
          <a:chExt cx="0" cy="0"/>
        </a:xfrm>
      </p:grpSpPr>
      <p:pic>
        <p:nvPicPr>
          <p:cNvPr id="8" name="Imagen 7" descr="Imagen digital de una ciudad&#10;&#10;Descripción generada automáticamente">
            <a:extLst>
              <a:ext uri="{FF2B5EF4-FFF2-40B4-BE49-F238E27FC236}">
                <a16:creationId xmlns:a16="http://schemas.microsoft.com/office/drawing/2014/main" id="{4BCEBA49-858A-42E6-84C6-24CD5438A5D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53144"/>
            <a:ext cx="12192000" cy="6204856"/>
          </a:xfrm>
          <a:prstGeom prst="rect">
            <a:avLst/>
          </a:prstGeom>
        </p:spPr>
      </p:pic>
      <p:sp>
        <p:nvSpPr>
          <p:cNvPr id="9" name="Rectángulo 8">
            <a:extLst>
              <a:ext uri="{FF2B5EF4-FFF2-40B4-BE49-F238E27FC236}">
                <a16:creationId xmlns:a16="http://schemas.microsoft.com/office/drawing/2014/main" id="{3CEAE61F-DDB5-4ABF-B102-CA4BBBDB3979}"/>
              </a:ext>
            </a:extLst>
          </p:cNvPr>
          <p:cNvSpPr/>
          <p:nvPr userDrawn="1"/>
        </p:nvSpPr>
        <p:spPr>
          <a:xfrm>
            <a:off x="1" y="653143"/>
            <a:ext cx="12054840" cy="6204857"/>
          </a:xfrm>
          <a:prstGeom prst="rect">
            <a:avLst/>
          </a:prstGeom>
          <a:gradFill flip="none" rotWithShape="1">
            <a:gsLst>
              <a:gs pos="58000">
                <a:schemeClr val="accent1">
                  <a:alpha val="45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Título 1">
            <a:extLst>
              <a:ext uri="{FF2B5EF4-FFF2-40B4-BE49-F238E27FC236}">
                <a16:creationId xmlns:a16="http://schemas.microsoft.com/office/drawing/2014/main" id="{89E79BD3-ED04-4E11-8162-5388EE3EB423}"/>
              </a:ext>
            </a:extLst>
          </p:cNvPr>
          <p:cNvSpPr>
            <a:spLocks noGrp="1"/>
          </p:cNvSpPr>
          <p:nvPr>
            <p:ph type="ctrTitle" hasCustomPrompt="1"/>
          </p:nvPr>
        </p:nvSpPr>
        <p:spPr>
          <a:xfrm>
            <a:off x="515939" y="1409703"/>
            <a:ext cx="1881573" cy="893885"/>
          </a:xfrm>
          <a:prstGeom prst="rect">
            <a:avLst/>
          </a:prstGeom>
        </p:spPr>
        <p:txBody>
          <a:bodyPr lIns="0" tIns="0" rIns="0" bIns="0" anchor="t" anchorCtr="0">
            <a:noAutofit/>
          </a:bodyPr>
          <a:lstStyle>
            <a:lvl1pPr algn="l">
              <a:defRPr sz="3200">
                <a:solidFill>
                  <a:schemeClr val="bg1"/>
                </a:solidFill>
                <a:latin typeface="Santander Headline" panose="020B0504020201020104" pitchFamily="34" charset="0"/>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2134599139"/>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rase_Impact_02 lines">
    <p:spTree>
      <p:nvGrpSpPr>
        <p:cNvPr id="1" name=""/>
        <p:cNvGrpSpPr/>
        <p:nvPr/>
      </p:nvGrpSpPr>
      <p:grpSpPr>
        <a:xfrm>
          <a:off x="0" y="0"/>
          <a:ext cx="0" cy="0"/>
          <a:chOff x="0" y="0"/>
          <a:chExt cx="0" cy="0"/>
        </a:xfrm>
      </p:grpSpPr>
      <p:pic>
        <p:nvPicPr>
          <p:cNvPr id="8" name="Imagen 7" descr="Imagen digital de una ciudad&#10;&#10;Descripción generada automáticamente">
            <a:extLst>
              <a:ext uri="{FF2B5EF4-FFF2-40B4-BE49-F238E27FC236}">
                <a16:creationId xmlns:a16="http://schemas.microsoft.com/office/drawing/2014/main" id="{4BCEBA49-858A-42E6-84C6-24CD5438A5D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53144"/>
            <a:ext cx="12192000" cy="6204856"/>
          </a:xfrm>
          <a:prstGeom prst="rect">
            <a:avLst/>
          </a:prstGeom>
        </p:spPr>
      </p:pic>
      <p:sp>
        <p:nvSpPr>
          <p:cNvPr id="9" name="Rectángulo 8">
            <a:extLst>
              <a:ext uri="{FF2B5EF4-FFF2-40B4-BE49-F238E27FC236}">
                <a16:creationId xmlns:a16="http://schemas.microsoft.com/office/drawing/2014/main" id="{3CEAE61F-DDB5-4ABF-B102-CA4BBBDB3979}"/>
              </a:ext>
            </a:extLst>
          </p:cNvPr>
          <p:cNvSpPr/>
          <p:nvPr userDrawn="1"/>
        </p:nvSpPr>
        <p:spPr>
          <a:xfrm>
            <a:off x="1" y="653143"/>
            <a:ext cx="12054840" cy="6204857"/>
          </a:xfrm>
          <a:prstGeom prst="rect">
            <a:avLst/>
          </a:prstGeom>
          <a:gradFill flip="none" rotWithShape="1">
            <a:gsLst>
              <a:gs pos="58000">
                <a:schemeClr val="accent1">
                  <a:alpha val="45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6" name="Conector recto 5">
            <a:extLst>
              <a:ext uri="{FF2B5EF4-FFF2-40B4-BE49-F238E27FC236}">
                <a16:creationId xmlns:a16="http://schemas.microsoft.com/office/drawing/2014/main" id="{089E0271-1DC5-46FF-A5C8-07A126914C9F}"/>
              </a:ext>
            </a:extLst>
          </p:cNvPr>
          <p:cNvCxnSpPr>
            <a:cxnSpLocks/>
          </p:cNvCxnSpPr>
          <p:nvPr userDrawn="1"/>
        </p:nvCxnSpPr>
        <p:spPr>
          <a:xfrm>
            <a:off x="2274570" y="414972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0DF1C767-A900-4681-ABA3-69A761A66323}"/>
              </a:ext>
            </a:extLst>
          </p:cNvPr>
          <p:cNvCxnSpPr>
            <a:cxnSpLocks/>
          </p:cNvCxnSpPr>
          <p:nvPr userDrawn="1"/>
        </p:nvCxnSpPr>
        <p:spPr>
          <a:xfrm>
            <a:off x="6106632" y="369854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Marcador de texto 4">
            <a:extLst>
              <a:ext uri="{FF2B5EF4-FFF2-40B4-BE49-F238E27FC236}">
                <a16:creationId xmlns:a16="http://schemas.microsoft.com/office/drawing/2014/main" id="{031D0E45-B2D2-49E2-A9BA-7B97F1F49619}"/>
              </a:ext>
            </a:extLst>
          </p:cNvPr>
          <p:cNvSpPr>
            <a:spLocks noGrp="1"/>
          </p:cNvSpPr>
          <p:nvPr>
            <p:ph type="body" sz="quarter" idx="48" hasCustomPrompt="1"/>
          </p:nvPr>
        </p:nvSpPr>
        <p:spPr>
          <a:xfrm>
            <a:off x="6298969" y="297766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11" name="Marcador de texto 4">
            <a:extLst>
              <a:ext uri="{FF2B5EF4-FFF2-40B4-BE49-F238E27FC236}">
                <a16:creationId xmlns:a16="http://schemas.microsoft.com/office/drawing/2014/main" id="{DCA016D0-3D0E-4F0F-AF8A-E490F196E154}"/>
              </a:ext>
            </a:extLst>
          </p:cNvPr>
          <p:cNvSpPr>
            <a:spLocks noGrp="1"/>
          </p:cNvSpPr>
          <p:nvPr>
            <p:ph type="body" sz="quarter" idx="49" hasCustomPrompt="1"/>
          </p:nvPr>
        </p:nvSpPr>
        <p:spPr>
          <a:xfrm>
            <a:off x="2270719" y="343072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4049927336"/>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rase_Impact_03">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Haga clic para añadir el título</a:t>
            </a:r>
          </a:p>
        </p:txBody>
      </p:sp>
      <p:pic>
        <p:nvPicPr>
          <p:cNvPr id="6" name="Imagen 5" descr="Imagen que contiene verde, alfombra&#10;&#10;Descripción generada automáticamente">
            <a:extLst>
              <a:ext uri="{FF2B5EF4-FFF2-40B4-BE49-F238E27FC236}">
                <a16:creationId xmlns:a16="http://schemas.microsoft.com/office/drawing/2014/main" id="{B329B0B3-F50C-4F37-81EB-EADF1926A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53144"/>
            <a:ext cx="12191999" cy="6204856"/>
          </a:xfrm>
          <a:prstGeom prst="rect">
            <a:avLst/>
          </a:prstGeom>
        </p:spPr>
      </p:pic>
      <p:sp>
        <p:nvSpPr>
          <p:cNvPr id="7" name="Rectángulo 6">
            <a:extLst>
              <a:ext uri="{FF2B5EF4-FFF2-40B4-BE49-F238E27FC236}">
                <a16:creationId xmlns:a16="http://schemas.microsoft.com/office/drawing/2014/main" id="{A8698D3F-0FC7-4C98-9D9B-AE90BA8B1C44}"/>
              </a:ext>
            </a:extLst>
          </p:cNvPr>
          <p:cNvSpPr/>
          <p:nvPr userDrawn="1"/>
        </p:nvSpPr>
        <p:spPr>
          <a:xfrm>
            <a:off x="-1" y="653144"/>
            <a:ext cx="11978641" cy="6204856"/>
          </a:xfrm>
          <a:prstGeom prst="rect">
            <a:avLst/>
          </a:prstGeom>
          <a:gradFill flip="none" rotWithShape="1">
            <a:gsLst>
              <a:gs pos="54000">
                <a:schemeClr val="accent1">
                  <a:alpha val="36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5" name="Marcador de texto 4">
            <a:extLst>
              <a:ext uri="{FF2B5EF4-FFF2-40B4-BE49-F238E27FC236}">
                <a16:creationId xmlns:a16="http://schemas.microsoft.com/office/drawing/2014/main" id="{95C17B94-B74F-4A90-82A5-28ED96009B87}"/>
              </a:ext>
            </a:extLst>
          </p:cNvPr>
          <p:cNvSpPr>
            <a:spLocks noGrp="1"/>
          </p:cNvSpPr>
          <p:nvPr>
            <p:ph type="body" sz="quarter" idx="48" hasCustomPrompt="1"/>
          </p:nvPr>
        </p:nvSpPr>
        <p:spPr>
          <a:xfrm>
            <a:off x="423862" y="2522346"/>
            <a:ext cx="1739475"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
        <p:nvSpPr>
          <p:cNvPr id="2" name="Título 1">
            <a:extLst>
              <a:ext uri="{FF2B5EF4-FFF2-40B4-BE49-F238E27FC236}">
                <a16:creationId xmlns:a16="http://schemas.microsoft.com/office/drawing/2014/main" id="{E6C91F74-2137-4971-AF7A-BC83AE1C7607}"/>
              </a:ext>
            </a:extLst>
          </p:cNvPr>
          <p:cNvSpPr>
            <a:spLocks noGrp="1"/>
          </p:cNvSpPr>
          <p:nvPr>
            <p:ph type="title" hasCustomPrompt="1"/>
          </p:nvPr>
        </p:nvSpPr>
        <p:spPr>
          <a:xfrm>
            <a:off x="423863" y="1471142"/>
            <a:ext cx="2015389" cy="1051204"/>
          </a:xfrm>
          <a:prstGeom prst="rect">
            <a:avLst/>
          </a:prstGeom>
        </p:spPr>
        <p:txBody>
          <a:bodyPr/>
          <a:lstStyle>
            <a:lvl1pPr marL="0" algn="l" defTabSz="742950" rtl="0" eaLnBrk="1" latinLnBrk="0" hangingPunct="1">
              <a:lnSpc>
                <a:spcPct val="90000"/>
              </a:lnSpc>
              <a:spcBef>
                <a:spcPct val="0"/>
              </a:spcBef>
              <a:buNone/>
              <a:defRPr lang="es-ES" sz="3200" kern="1200" dirty="0">
                <a:solidFill>
                  <a:schemeClr val="bg1"/>
                </a:solidFill>
                <a:latin typeface="Santander Headline" panose="020B0504020201020104" pitchFamily="34" charset="0"/>
                <a:ea typeface="+mj-ea"/>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3405467488"/>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rase_Impact_03 lines">
    <p:spTree>
      <p:nvGrpSpPr>
        <p:cNvPr id="1" name=""/>
        <p:cNvGrpSpPr/>
        <p:nvPr/>
      </p:nvGrpSpPr>
      <p:grpSpPr>
        <a:xfrm>
          <a:off x="0" y="0"/>
          <a:ext cx="0" cy="0"/>
          <a:chOff x="0" y="0"/>
          <a:chExt cx="0" cy="0"/>
        </a:xfrm>
      </p:grpSpPr>
      <p:pic>
        <p:nvPicPr>
          <p:cNvPr id="6" name="Imagen 5" descr="Imagen que contiene verde, alfombra&#10;&#10;Descripción generada automáticamente">
            <a:extLst>
              <a:ext uri="{FF2B5EF4-FFF2-40B4-BE49-F238E27FC236}">
                <a16:creationId xmlns:a16="http://schemas.microsoft.com/office/drawing/2014/main" id="{B329B0B3-F50C-4F37-81EB-EADF1926A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53144"/>
            <a:ext cx="12191999" cy="6204856"/>
          </a:xfrm>
          <a:prstGeom prst="rect">
            <a:avLst/>
          </a:prstGeom>
        </p:spPr>
      </p:pic>
      <p:sp>
        <p:nvSpPr>
          <p:cNvPr id="7" name="Rectángulo 6">
            <a:extLst>
              <a:ext uri="{FF2B5EF4-FFF2-40B4-BE49-F238E27FC236}">
                <a16:creationId xmlns:a16="http://schemas.microsoft.com/office/drawing/2014/main" id="{A8698D3F-0FC7-4C98-9D9B-AE90BA8B1C44}"/>
              </a:ext>
            </a:extLst>
          </p:cNvPr>
          <p:cNvSpPr/>
          <p:nvPr userDrawn="1"/>
        </p:nvSpPr>
        <p:spPr>
          <a:xfrm>
            <a:off x="-1" y="653144"/>
            <a:ext cx="11978641" cy="6204856"/>
          </a:xfrm>
          <a:prstGeom prst="rect">
            <a:avLst/>
          </a:prstGeom>
          <a:gradFill flip="none" rotWithShape="1">
            <a:gsLst>
              <a:gs pos="54000">
                <a:schemeClr val="accent1">
                  <a:alpha val="36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9" name="Conector recto 8">
            <a:extLst>
              <a:ext uri="{FF2B5EF4-FFF2-40B4-BE49-F238E27FC236}">
                <a16:creationId xmlns:a16="http://schemas.microsoft.com/office/drawing/2014/main" id="{0C09614A-53B9-4A61-84A7-859FB3707A5A}"/>
              </a:ext>
            </a:extLst>
          </p:cNvPr>
          <p:cNvCxnSpPr>
            <a:cxnSpLocks/>
          </p:cNvCxnSpPr>
          <p:nvPr userDrawn="1"/>
        </p:nvCxnSpPr>
        <p:spPr>
          <a:xfrm>
            <a:off x="2274570" y="383476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72E13198-EF88-4783-926A-8BB8AE962ED5}"/>
              </a:ext>
            </a:extLst>
          </p:cNvPr>
          <p:cNvCxnSpPr>
            <a:cxnSpLocks/>
          </p:cNvCxnSpPr>
          <p:nvPr userDrawn="1"/>
        </p:nvCxnSpPr>
        <p:spPr>
          <a:xfrm>
            <a:off x="6106632" y="338358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Marcador de texto 4">
            <a:extLst>
              <a:ext uri="{FF2B5EF4-FFF2-40B4-BE49-F238E27FC236}">
                <a16:creationId xmlns:a16="http://schemas.microsoft.com/office/drawing/2014/main" id="{2E8BE9B3-F3A3-4B21-AE5B-F5319D210B19}"/>
              </a:ext>
            </a:extLst>
          </p:cNvPr>
          <p:cNvSpPr>
            <a:spLocks noGrp="1"/>
          </p:cNvSpPr>
          <p:nvPr>
            <p:ph type="body" sz="quarter" idx="49" hasCustomPrompt="1"/>
          </p:nvPr>
        </p:nvSpPr>
        <p:spPr>
          <a:xfrm>
            <a:off x="6298969" y="266270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12" name="Marcador de texto 4">
            <a:extLst>
              <a:ext uri="{FF2B5EF4-FFF2-40B4-BE49-F238E27FC236}">
                <a16:creationId xmlns:a16="http://schemas.microsoft.com/office/drawing/2014/main" id="{770A02B3-CD47-404C-BBA0-BA4E67E4CD1C}"/>
              </a:ext>
            </a:extLst>
          </p:cNvPr>
          <p:cNvSpPr>
            <a:spLocks noGrp="1"/>
          </p:cNvSpPr>
          <p:nvPr>
            <p:ph type="body" sz="quarter" idx="50" hasCustomPrompt="1"/>
          </p:nvPr>
        </p:nvSpPr>
        <p:spPr>
          <a:xfrm>
            <a:off x="2270719" y="311576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2130779436"/>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rase_Impact_05">
    <p:spTree>
      <p:nvGrpSpPr>
        <p:cNvPr id="1" name=""/>
        <p:cNvGrpSpPr/>
        <p:nvPr/>
      </p:nvGrpSpPr>
      <p:grpSpPr>
        <a:xfrm>
          <a:off x="0" y="0"/>
          <a:ext cx="0" cy="0"/>
          <a:chOff x="0" y="0"/>
          <a:chExt cx="0" cy="0"/>
        </a:xfrm>
      </p:grpSpPr>
      <p:pic>
        <p:nvPicPr>
          <p:cNvPr id="7" name="Imagen 6" descr="Una persona hablando por teléfono en la calle&#10;&#10;Descripción generada automáticamente con confianza baja">
            <a:extLst>
              <a:ext uri="{FF2B5EF4-FFF2-40B4-BE49-F238E27FC236}">
                <a16:creationId xmlns:a16="http://schemas.microsoft.com/office/drawing/2014/main" id="{62B4307D-F1C4-4A63-8C46-893B38B31EB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37806"/>
            <a:ext cx="12182476" cy="6220193"/>
          </a:xfrm>
          <a:prstGeom prst="rect">
            <a:avLst/>
          </a:prstGeom>
        </p:spPr>
      </p:pic>
      <p:sp>
        <p:nvSpPr>
          <p:cNvPr id="10" name="Rectángulo 9">
            <a:extLst>
              <a:ext uri="{FF2B5EF4-FFF2-40B4-BE49-F238E27FC236}">
                <a16:creationId xmlns:a16="http://schemas.microsoft.com/office/drawing/2014/main" id="{B5CF344C-345E-4944-96EE-FB3C28602850}"/>
              </a:ext>
            </a:extLst>
          </p:cNvPr>
          <p:cNvSpPr/>
          <p:nvPr userDrawn="1"/>
        </p:nvSpPr>
        <p:spPr>
          <a:xfrm>
            <a:off x="-1" y="637806"/>
            <a:ext cx="11978641" cy="6220194"/>
          </a:xfrm>
          <a:prstGeom prst="rect">
            <a:avLst/>
          </a:prstGeom>
          <a:gradFill flip="none" rotWithShape="1">
            <a:gsLst>
              <a:gs pos="80000">
                <a:schemeClr val="accent1">
                  <a:alpha val="71000"/>
                </a:schemeClr>
              </a:gs>
              <a:gs pos="4400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Título 1">
            <a:extLst>
              <a:ext uri="{FF2B5EF4-FFF2-40B4-BE49-F238E27FC236}">
                <a16:creationId xmlns:a16="http://schemas.microsoft.com/office/drawing/2014/main" id="{89E79BD3-ED04-4E11-8162-5388EE3EB423}"/>
              </a:ext>
            </a:extLst>
          </p:cNvPr>
          <p:cNvSpPr>
            <a:spLocks noGrp="1"/>
          </p:cNvSpPr>
          <p:nvPr>
            <p:ph type="ctrTitle" hasCustomPrompt="1"/>
          </p:nvPr>
        </p:nvSpPr>
        <p:spPr>
          <a:xfrm>
            <a:off x="515939" y="1409703"/>
            <a:ext cx="1836968" cy="893885"/>
          </a:xfrm>
          <a:prstGeom prst="rect">
            <a:avLst/>
          </a:prstGeom>
        </p:spPr>
        <p:txBody>
          <a:bodyPr lIns="0" tIns="0" rIns="0" bIns="0" anchor="t" anchorCtr="0">
            <a:noAutofit/>
          </a:bodyPr>
          <a:lstStyle>
            <a:lvl1pPr algn="l">
              <a:defRPr sz="3200">
                <a:solidFill>
                  <a:schemeClr val="bg1"/>
                </a:solidFill>
                <a:latin typeface="Santander Headline" panose="020B0504020201020104" pitchFamily="34" charset="0"/>
                <a:cs typeface="Santander Headline Light" panose="020B0304020201010104" pitchFamily="34" charset="0"/>
              </a:defRPr>
            </a:lvl1pPr>
          </a:lstStyle>
          <a:p>
            <a:r>
              <a:rPr lang="es-ES" dirty="0" err="1"/>
              <a:t>Chapter</a:t>
            </a:r>
            <a:r>
              <a:rPr lang="es-ES" dirty="0"/>
              <a:t> </a:t>
            </a:r>
            <a:r>
              <a:rPr lang="es-ES" dirty="0" err="1"/>
              <a:t>title</a:t>
            </a:r>
            <a:endParaRPr lang="es-ES" dirty="0"/>
          </a:p>
        </p:txBody>
      </p:sp>
      <p:sp>
        <p:nvSpPr>
          <p:cNvPr id="13" name="Marcador de texto 4">
            <a:extLst>
              <a:ext uri="{FF2B5EF4-FFF2-40B4-BE49-F238E27FC236}">
                <a16:creationId xmlns:a16="http://schemas.microsoft.com/office/drawing/2014/main" id="{DD850D1D-BB44-476F-914F-031D2FA87571}"/>
              </a:ext>
            </a:extLst>
          </p:cNvPr>
          <p:cNvSpPr>
            <a:spLocks noGrp="1"/>
          </p:cNvSpPr>
          <p:nvPr>
            <p:ph type="body" sz="quarter" idx="47" hasCustomPrompt="1"/>
          </p:nvPr>
        </p:nvSpPr>
        <p:spPr>
          <a:xfrm>
            <a:off x="515940" y="2369946"/>
            <a:ext cx="2253639" cy="1645208"/>
          </a:xfrm>
          <a:prstGeom prst="rect">
            <a:avLst/>
          </a:prstGeom>
        </p:spPr>
        <p:txBody>
          <a:bodyPr lIns="0" tIns="0" rIns="0" bIns="0">
            <a:noAutofit/>
          </a:bodyPr>
          <a:lstStyle>
            <a:lvl1pPr marL="0" indent="0">
              <a:lnSpc>
                <a:spcPct val="120000"/>
              </a:lnSpc>
              <a:buNone/>
              <a:defRPr sz="16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1582342520"/>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rase_Impact_05 lines">
    <p:spTree>
      <p:nvGrpSpPr>
        <p:cNvPr id="1" name=""/>
        <p:cNvGrpSpPr/>
        <p:nvPr/>
      </p:nvGrpSpPr>
      <p:grpSpPr>
        <a:xfrm>
          <a:off x="0" y="0"/>
          <a:ext cx="0" cy="0"/>
          <a:chOff x="0" y="0"/>
          <a:chExt cx="0" cy="0"/>
        </a:xfrm>
      </p:grpSpPr>
      <p:pic>
        <p:nvPicPr>
          <p:cNvPr id="7" name="Imagen 6" descr="Una persona hablando por teléfono en la calle&#10;&#10;Descripción generada automáticamente con confianza baja">
            <a:extLst>
              <a:ext uri="{FF2B5EF4-FFF2-40B4-BE49-F238E27FC236}">
                <a16:creationId xmlns:a16="http://schemas.microsoft.com/office/drawing/2014/main" id="{62B4307D-F1C4-4A63-8C46-893B38B31EB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37806"/>
            <a:ext cx="12182476" cy="6220193"/>
          </a:xfrm>
          <a:prstGeom prst="rect">
            <a:avLst/>
          </a:prstGeom>
        </p:spPr>
      </p:pic>
      <p:sp>
        <p:nvSpPr>
          <p:cNvPr id="10" name="Rectángulo 9">
            <a:extLst>
              <a:ext uri="{FF2B5EF4-FFF2-40B4-BE49-F238E27FC236}">
                <a16:creationId xmlns:a16="http://schemas.microsoft.com/office/drawing/2014/main" id="{B5CF344C-345E-4944-96EE-FB3C28602850}"/>
              </a:ext>
            </a:extLst>
          </p:cNvPr>
          <p:cNvSpPr/>
          <p:nvPr userDrawn="1"/>
        </p:nvSpPr>
        <p:spPr>
          <a:xfrm>
            <a:off x="-1" y="637806"/>
            <a:ext cx="11978641" cy="6220194"/>
          </a:xfrm>
          <a:prstGeom prst="rect">
            <a:avLst/>
          </a:prstGeom>
          <a:gradFill flip="none" rotWithShape="1">
            <a:gsLst>
              <a:gs pos="80000">
                <a:schemeClr val="accent1">
                  <a:alpha val="71000"/>
                </a:schemeClr>
              </a:gs>
              <a:gs pos="4400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6" name="Conector recto 5">
            <a:extLst>
              <a:ext uri="{FF2B5EF4-FFF2-40B4-BE49-F238E27FC236}">
                <a16:creationId xmlns:a16="http://schemas.microsoft.com/office/drawing/2014/main" id="{5FC653A8-EB78-4233-9B05-513594F97F44}"/>
              </a:ext>
            </a:extLst>
          </p:cNvPr>
          <p:cNvCxnSpPr>
            <a:cxnSpLocks/>
          </p:cNvCxnSpPr>
          <p:nvPr userDrawn="1"/>
        </p:nvCxnSpPr>
        <p:spPr>
          <a:xfrm>
            <a:off x="2274570" y="4177668"/>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 name="Conector recto 7">
            <a:extLst>
              <a:ext uri="{FF2B5EF4-FFF2-40B4-BE49-F238E27FC236}">
                <a16:creationId xmlns:a16="http://schemas.microsoft.com/office/drawing/2014/main" id="{F6712989-55A3-401E-B2A7-5B2B0B52387D}"/>
              </a:ext>
            </a:extLst>
          </p:cNvPr>
          <p:cNvCxnSpPr>
            <a:cxnSpLocks/>
          </p:cNvCxnSpPr>
          <p:nvPr userDrawn="1"/>
        </p:nvCxnSpPr>
        <p:spPr>
          <a:xfrm>
            <a:off x="6106632" y="3726484"/>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Marcador de texto 4">
            <a:extLst>
              <a:ext uri="{FF2B5EF4-FFF2-40B4-BE49-F238E27FC236}">
                <a16:creationId xmlns:a16="http://schemas.microsoft.com/office/drawing/2014/main" id="{F8F69366-A0B9-45CF-8EE9-56E8B8765C6E}"/>
              </a:ext>
            </a:extLst>
          </p:cNvPr>
          <p:cNvSpPr>
            <a:spLocks noGrp="1"/>
          </p:cNvSpPr>
          <p:nvPr>
            <p:ph type="body" sz="quarter" idx="48" hasCustomPrompt="1"/>
          </p:nvPr>
        </p:nvSpPr>
        <p:spPr>
          <a:xfrm>
            <a:off x="6298969" y="3005603"/>
            <a:ext cx="3618338"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err="1"/>
              <a:t>Impact</a:t>
            </a:r>
            <a:r>
              <a:rPr lang="es-ES" sz="3600" dirty="0"/>
              <a:t> </a:t>
            </a:r>
            <a:r>
              <a:rPr lang="es-ES" sz="3600" dirty="0" err="1"/>
              <a:t>slide</a:t>
            </a:r>
            <a:endParaRPr lang="es-ES" sz="3600" dirty="0"/>
          </a:p>
        </p:txBody>
      </p:sp>
      <p:sp>
        <p:nvSpPr>
          <p:cNvPr id="11" name="Marcador de texto 4">
            <a:extLst>
              <a:ext uri="{FF2B5EF4-FFF2-40B4-BE49-F238E27FC236}">
                <a16:creationId xmlns:a16="http://schemas.microsoft.com/office/drawing/2014/main" id="{EA34F909-4D2B-4978-B98F-CBD630929BCB}"/>
              </a:ext>
            </a:extLst>
          </p:cNvPr>
          <p:cNvSpPr>
            <a:spLocks noGrp="1"/>
          </p:cNvSpPr>
          <p:nvPr>
            <p:ph type="body" sz="quarter" idx="49" hasCustomPrompt="1"/>
          </p:nvPr>
        </p:nvSpPr>
        <p:spPr>
          <a:xfrm>
            <a:off x="2270719" y="3458663"/>
            <a:ext cx="3618338"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 </a:t>
            </a:r>
            <a:r>
              <a:rPr lang="es-ES" dirty="0" err="1"/>
              <a:t>Inspirational</a:t>
            </a:r>
            <a:r>
              <a:rPr lang="es-ES" dirty="0"/>
              <a:t> </a:t>
            </a:r>
            <a:r>
              <a:rPr lang="es-ES" dirty="0" err="1"/>
              <a:t>phrase</a:t>
            </a:r>
            <a:endParaRPr lang="es-ES" dirty="0"/>
          </a:p>
        </p:txBody>
      </p:sp>
    </p:spTree>
    <p:extLst>
      <p:ext uri="{BB962C8B-B14F-4D97-AF65-F5344CB8AC3E}">
        <p14:creationId xmlns:p14="http://schemas.microsoft.com/office/powerpoint/2010/main" val="3065190749"/>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grpSp>
        <p:nvGrpSpPr>
          <p:cNvPr id="8" name="Grupo 7">
            <a:extLst>
              <a:ext uri="{FF2B5EF4-FFF2-40B4-BE49-F238E27FC236}">
                <a16:creationId xmlns:a16="http://schemas.microsoft.com/office/drawing/2014/main" id="{F44F3CA0-7517-8F4F-AF71-A5895CED3C96}"/>
              </a:ext>
            </a:extLst>
          </p:cNvPr>
          <p:cNvGrpSpPr/>
          <p:nvPr userDrawn="1"/>
        </p:nvGrpSpPr>
        <p:grpSpPr>
          <a:xfrm>
            <a:off x="-12701" y="0"/>
            <a:ext cx="4655358" cy="6858000"/>
            <a:chOff x="-756458" y="0"/>
            <a:chExt cx="4655357" cy="6858000"/>
          </a:xfrm>
          <a:solidFill>
            <a:schemeClr val="accent4"/>
          </a:solidFill>
        </p:grpSpPr>
        <p:sp>
          <p:nvSpPr>
            <p:cNvPr id="9" name="Rectángulo 8">
              <a:extLst>
                <a:ext uri="{FF2B5EF4-FFF2-40B4-BE49-F238E27FC236}">
                  <a16:creationId xmlns:a16="http://schemas.microsoft.com/office/drawing/2014/main" id="{6A766C2A-B08D-9F43-840E-38F5BC7BC304}"/>
                </a:ext>
              </a:extLst>
            </p:cNvPr>
            <p:cNvSpPr/>
            <p:nvPr userDrawn="1"/>
          </p:nvSpPr>
          <p:spPr>
            <a:xfrm>
              <a:off x="-756458" y="0"/>
              <a:ext cx="465535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0" name="Rectángulo 9">
              <a:extLst>
                <a:ext uri="{FF2B5EF4-FFF2-40B4-BE49-F238E27FC236}">
                  <a16:creationId xmlns:a16="http://schemas.microsoft.com/office/drawing/2014/main" id="{409CD035-180A-0741-A5FA-BF96C110231A}"/>
                </a:ext>
              </a:extLst>
            </p:cNvPr>
            <p:cNvSpPr/>
            <p:nvPr userDrawn="1"/>
          </p:nvSpPr>
          <p:spPr>
            <a:xfrm>
              <a:off x="-756458" y="2273300"/>
              <a:ext cx="4069311" cy="4584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6" name="Subtítulo 2">
            <a:extLst>
              <a:ext uri="{FF2B5EF4-FFF2-40B4-BE49-F238E27FC236}">
                <a16:creationId xmlns:a16="http://schemas.microsoft.com/office/drawing/2014/main" id="{AF9BA34A-7FF8-4995-9217-09BBB6526127}"/>
              </a:ext>
            </a:extLst>
          </p:cNvPr>
          <p:cNvSpPr>
            <a:spLocks noGrp="1"/>
          </p:cNvSpPr>
          <p:nvPr>
            <p:ph type="subTitle" idx="1" hasCustomPrompt="1"/>
          </p:nvPr>
        </p:nvSpPr>
        <p:spPr>
          <a:xfrm>
            <a:off x="423985" y="2115976"/>
            <a:ext cx="2593022" cy="740103"/>
          </a:xfrm>
          <a:prstGeom prst="rect">
            <a:avLst/>
          </a:prstGeom>
        </p:spPr>
        <p:txBody>
          <a:bodyPr vert="horz" lIns="0" tIns="0" rIns="0" bIns="0" rtlCol="0" anchor="t" anchorCtr="0">
            <a:noAutofit/>
          </a:bodyPr>
          <a:lstStyle>
            <a:lvl1pPr marL="0" indent="0">
              <a:spcBef>
                <a:spcPts val="813"/>
              </a:spcBef>
              <a:buNone/>
              <a:defRPr lang="es-ES" sz="1600">
                <a:solidFill>
                  <a:schemeClr val="bg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sp>
        <p:nvSpPr>
          <p:cNvPr id="11" name="Título 1">
            <a:extLst>
              <a:ext uri="{FF2B5EF4-FFF2-40B4-BE49-F238E27FC236}">
                <a16:creationId xmlns:a16="http://schemas.microsoft.com/office/drawing/2014/main" id="{18BAC8F4-287D-423D-999F-C4C983C33447}"/>
              </a:ext>
            </a:extLst>
          </p:cNvPr>
          <p:cNvSpPr>
            <a:spLocks noGrp="1"/>
          </p:cNvSpPr>
          <p:nvPr>
            <p:ph type="ctrTitle" hasCustomPrompt="1"/>
          </p:nvPr>
        </p:nvSpPr>
        <p:spPr>
          <a:xfrm>
            <a:off x="423985" y="873128"/>
            <a:ext cx="2163098" cy="1130731"/>
          </a:xfrm>
          <a:prstGeom prst="rect">
            <a:avLst/>
          </a:prstGeom>
        </p:spPr>
        <p:txBody>
          <a:bodyPr lIns="0" tIns="0" rIns="0" bIns="0" anchor="t" anchorCtr="0">
            <a:noAutofit/>
          </a:bodyPr>
          <a:lstStyle>
            <a:lvl1pPr algn="l">
              <a:defRPr sz="4000">
                <a:solidFill>
                  <a:schemeClr val="bg1"/>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pic>
        <p:nvPicPr>
          <p:cNvPr id="14" name="Gráfico 13">
            <a:extLst>
              <a:ext uri="{FF2B5EF4-FFF2-40B4-BE49-F238E27FC236}">
                <a16:creationId xmlns:a16="http://schemas.microsoft.com/office/drawing/2014/main" id="{EAD1B9FA-077D-43F7-B31C-3E6557F96B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9981" y="273933"/>
            <a:ext cx="1031951" cy="190176"/>
          </a:xfrm>
          <a:prstGeom prst="rect">
            <a:avLst/>
          </a:prstGeom>
        </p:spPr>
      </p:pic>
    </p:spTree>
    <p:extLst>
      <p:ext uri="{BB962C8B-B14F-4D97-AF65-F5344CB8AC3E}">
        <p14:creationId xmlns:p14="http://schemas.microsoft.com/office/powerpoint/2010/main" val="2965908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03">
    <p:spTree>
      <p:nvGrpSpPr>
        <p:cNvPr id="1" name=""/>
        <p:cNvGrpSpPr/>
        <p:nvPr/>
      </p:nvGrpSpPr>
      <p:grpSpPr>
        <a:xfrm>
          <a:off x="0" y="0"/>
          <a:ext cx="0" cy="0"/>
          <a:chOff x="0" y="0"/>
          <a:chExt cx="0" cy="0"/>
        </a:xfrm>
      </p:grpSpPr>
      <p:pic>
        <p:nvPicPr>
          <p:cNvPr id="11" name="Imagen 10" descr="Imagen que contiene verde, alfombra&#10;&#10;Descripción generada automáticamente">
            <a:extLst>
              <a:ext uri="{FF2B5EF4-FFF2-40B4-BE49-F238E27FC236}">
                <a16:creationId xmlns:a16="http://schemas.microsoft.com/office/drawing/2014/main" id="{AB8CCE50-3C10-43EB-AD2E-1BA3DA7BFF3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34202" y="-1"/>
            <a:ext cx="7934890" cy="6858001"/>
          </a:xfrm>
          <a:prstGeom prst="rect">
            <a:avLst/>
          </a:prstGeom>
        </p:spPr>
      </p:pic>
      <p:grpSp>
        <p:nvGrpSpPr>
          <p:cNvPr id="9" name="Grupo 8">
            <a:extLst>
              <a:ext uri="{FF2B5EF4-FFF2-40B4-BE49-F238E27FC236}">
                <a16:creationId xmlns:a16="http://schemas.microsoft.com/office/drawing/2014/main" id="{BB57EE8B-DF98-45CD-B769-4B655A96F751}"/>
              </a:ext>
            </a:extLst>
          </p:cNvPr>
          <p:cNvGrpSpPr/>
          <p:nvPr userDrawn="1"/>
        </p:nvGrpSpPr>
        <p:grpSpPr>
          <a:xfrm>
            <a:off x="-12700" y="0"/>
            <a:ext cx="4864100" cy="6858000"/>
            <a:chOff x="-756458" y="0"/>
            <a:chExt cx="4655357" cy="6858000"/>
          </a:xfrm>
          <a:solidFill>
            <a:srgbClr val="F6F6F6"/>
          </a:solidFill>
        </p:grpSpPr>
        <p:sp>
          <p:nvSpPr>
            <p:cNvPr id="10" name="Rectángulo 9">
              <a:extLst>
                <a:ext uri="{FF2B5EF4-FFF2-40B4-BE49-F238E27FC236}">
                  <a16:creationId xmlns:a16="http://schemas.microsoft.com/office/drawing/2014/main" id="{DD3C2D2D-54E9-48E1-B01F-2B83D2704E76}"/>
                </a:ext>
              </a:extLst>
            </p:cNvPr>
            <p:cNvSpPr/>
            <p:nvPr userDrawn="1"/>
          </p:nvSpPr>
          <p:spPr>
            <a:xfrm>
              <a:off x="-756458" y="0"/>
              <a:ext cx="4655357"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5" name="Rectángulo 14">
              <a:extLst>
                <a:ext uri="{FF2B5EF4-FFF2-40B4-BE49-F238E27FC236}">
                  <a16:creationId xmlns:a16="http://schemas.microsoft.com/office/drawing/2014/main" id="{EDCB4A4F-9F0A-440B-BF78-8F6A92C7AA0F}"/>
                </a:ext>
              </a:extLst>
            </p:cNvPr>
            <p:cNvSpPr/>
            <p:nvPr userDrawn="1"/>
          </p:nvSpPr>
          <p:spPr>
            <a:xfrm>
              <a:off x="-756458" y="2273300"/>
              <a:ext cx="4069311"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2" name="Título 1">
            <a:extLst>
              <a:ext uri="{FF2B5EF4-FFF2-40B4-BE49-F238E27FC236}">
                <a16:creationId xmlns:a16="http://schemas.microsoft.com/office/drawing/2014/main" id="{5CD7A62F-0FAA-498A-9925-E9C698702D46}"/>
              </a:ext>
            </a:extLst>
          </p:cNvPr>
          <p:cNvSpPr>
            <a:spLocks noGrp="1"/>
          </p:cNvSpPr>
          <p:nvPr>
            <p:ph type="ctrTitle" hasCustomPrompt="1"/>
          </p:nvPr>
        </p:nvSpPr>
        <p:spPr>
          <a:xfrm>
            <a:off x="419100" y="736169"/>
            <a:ext cx="3745575" cy="1174928"/>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br>
              <a:rPr lang="es-ES" dirty="0"/>
            </a:br>
            <a:r>
              <a:rPr lang="es-ES" dirty="0" err="1"/>
              <a:t>add</a:t>
            </a:r>
            <a:r>
              <a:rPr lang="es-ES" dirty="0"/>
              <a:t> </a:t>
            </a:r>
            <a:r>
              <a:rPr lang="es-ES" dirty="0" err="1"/>
              <a:t>title</a:t>
            </a:r>
            <a:endParaRPr lang="es-ES" dirty="0"/>
          </a:p>
        </p:txBody>
      </p:sp>
      <p:sp>
        <p:nvSpPr>
          <p:cNvPr id="14" name="Subtítulo 2">
            <a:extLst>
              <a:ext uri="{FF2B5EF4-FFF2-40B4-BE49-F238E27FC236}">
                <a16:creationId xmlns:a16="http://schemas.microsoft.com/office/drawing/2014/main" id="{D540F819-D00C-4880-93D8-F72F845CE6D9}"/>
              </a:ext>
            </a:extLst>
          </p:cNvPr>
          <p:cNvSpPr>
            <a:spLocks noGrp="1"/>
          </p:cNvSpPr>
          <p:nvPr>
            <p:ph type="subTitle" idx="1" hasCustomPrompt="1"/>
          </p:nvPr>
        </p:nvSpPr>
        <p:spPr>
          <a:xfrm>
            <a:off x="419100" y="1936315"/>
            <a:ext cx="3759709"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pic>
        <p:nvPicPr>
          <p:cNvPr id="16" name="Gráfico 15">
            <a:extLst>
              <a:ext uri="{FF2B5EF4-FFF2-40B4-BE49-F238E27FC236}">
                <a16:creationId xmlns:a16="http://schemas.microsoft.com/office/drawing/2014/main" id="{6BB9AE6F-2C06-46B2-AF3E-2B591A44A6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100" y="6050674"/>
            <a:ext cx="2262550" cy="391058"/>
          </a:xfrm>
          <a:prstGeom prst="rect">
            <a:avLst/>
          </a:prstGeom>
        </p:spPr>
      </p:pic>
    </p:spTree>
    <p:extLst>
      <p:ext uri="{BB962C8B-B14F-4D97-AF65-F5344CB8AC3E}">
        <p14:creationId xmlns:p14="http://schemas.microsoft.com/office/powerpoint/2010/main" val="1591649780"/>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1" name="Marcador de texto 5">
            <a:extLst>
              <a:ext uri="{FF2B5EF4-FFF2-40B4-BE49-F238E27FC236}">
                <a16:creationId xmlns:a16="http://schemas.microsoft.com/office/drawing/2014/main" id="{E186EE22-9E95-4126-AB3D-0F81CC56F370}"/>
              </a:ext>
            </a:extLst>
          </p:cNvPr>
          <p:cNvSpPr>
            <a:spLocks noGrp="1"/>
          </p:cNvSpPr>
          <p:nvPr>
            <p:ph type="body" sz="quarter" idx="25" hasCustomPrompt="1"/>
          </p:nvPr>
        </p:nvSpPr>
        <p:spPr>
          <a:xfrm>
            <a:off x="515938" y="2708346"/>
            <a:ext cx="1960562" cy="247650"/>
          </a:xfrm>
          <a:prstGeom prst="rect">
            <a:avLst/>
          </a:prstGeom>
        </p:spPr>
        <p:txBody>
          <a:bodyPr lIns="0" tIns="0" rIns="0" bIns="0"/>
          <a:lstStyle>
            <a:lvl1pPr marL="0" indent="0">
              <a:lnSpc>
                <a:spcPct val="100000"/>
              </a:lnSpc>
              <a:spcBef>
                <a:spcPts val="0"/>
              </a:spcBef>
              <a:spcAft>
                <a:spcPts val="975"/>
              </a:spcAft>
              <a:buNone/>
              <a:defRPr sz="800" b="1" i="0">
                <a:solidFill>
                  <a:schemeClr val="tx1"/>
                </a:solidFill>
                <a:latin typeface="Santander Text" panose="020B0504020201020104" pitchFamily="34" charset="0"/>
                <a:cs typeface="Santander Headline Light" panose="020B03040202010101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
        <p:nvSpPr>
          <p:cNvPr id="19" name="Marcador de texto 5">
            <a:extLst>
              <a:ext uri="{FF2B5EF4-FFF2-40B4-BE49-F238E27FC236}">
                <a16:creationId xmlns:a16="http://schemas.microsoft.com/office/drawing/2014/main" id="{F5B3AABB-B53D-46B5-8727-95C585D257E1}"/>
              </a:ext>
            </a:extLst>
          </p:cNvPr>
          <p:cNvSpPr>
            <a:spLocks noGrp="1"/>
          </p:cNvSpPr>
          <p:nvPr>
            <p:ph type="body" sz="quarter" idx="26" hasCustomPrompt="1"/>
          </p:nvPr>
        </p:nvSpPr>
        <p:spPr>
          <a:xfrm>
            <a:off x="515938" y="2956000"/>
            <a:ext cx="11352212" cy="3435279"/>
          </a:xfrm>
          <a:prstGeom prst="rect">
            <a:avLst/>
          </a:prstGeom>
        </p:spPr>
        <p:txBody>
          <a:bodyPr lIns="0" tIns="0" rIns="0" bIns="0"/>
          <a:lstStyle>
            <a:lvl1pPr marL="0" indent="0">
              <a:lnSpc>
                <a:spcPct val="100000"/>
              </a:lnSpc>
              <a:spcBef>
                <a:spcPts val="0"/>
              </a:spcBef>
              <a:spcAft>
                <a:spcPts val="975"/>
              </a:spcAft>
              <a:buNone/>
              <a:defRPr sz="800" b="0" i="0">
                <a:solidFill>
                  <a:schemeClr val="tx1"/>
                </a:solidFill>
                <a:latin typeface="Santander Text Light" panose="020B0304020201020104" pitchFamily="34" charset="0"/>
                <a:cs typeface="Santander Headline Light" panose="020B03040202010101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Tree>
    <p:extLst>
      <p:ext uri="{BB962C8B-B14F-4D97-AF65-F5344CB8AC3E}">
        <p14:creationId xmlns:p14="http://schemas.microsoft.com/office/powerpoint/2010/main" val="2453444657"/>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D39175EB-A6F1-4463-9476-78BB190E4B5E}"/>
              </a:ext>
            </a:extLst>
          </p:cNvPr>
          <p:cNvSpPr/>
          <p:nvPr userDrawn="1"/>
        </p:nvSpPr>
        <p:spPr>
          <a:xfrm>
            <a:off x="0" y="0"/>
            <a:ext cx="12192000" cy="6985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pic>
        <p:nvPicPr>
          <p:cNvPr id="4" name="Gráfico 3">
            <a:extLst>
              <a:ext uri="{FF2B5EF4-FFF2-40B4-BE49-F238E27FC236}">
                <a16:creationId xmlns:a16="http://schemas.microsoft.com/office/drawing/2014/main" id="{FB77043E-2525-47F7-8F31-7A92994A3E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83274" y="5925847"/>
            <a:ext cx="3181299" cy="549854"/>
          </a:xfrm>
          <a:prstGeom prst="rect">
            <a:avLst/>
          </a:prstGeom>
        </p:spPr>
      </p:pic>
      <p:sp>
        <p:nvSpPr>
          <p:cNvPr id="5" name="Marcador de texto 4">
            <a:extLst>
              <a:ext uri="{FF2B5EF4-FFF2-40B4-BE49-F238E27FC236}">
                <a16:creationId xmlns:a16="http://schemas.microsoft.com/office/drawing/2014/main" id="{8B2CE2F8-B113-49C1-8547-184D1781E7C5}"/>
              </a:ext>
            </a:extLst>
          </p:cNvPr>
          <p:cNvSpPr>
            <a:spLocks noGrp="1"/>
          </p:cNvSpPr>
          <p:nvPr>
            <p:ph type="body" sz="quarter" idx="49" hasCustomPrompt="1"/>
          </p:nvPr>
        </p:nvSpPr>
        <p:spPr>
          <a:xfrm>
            <a:off x="3832057" y="2966693"/>
            <a:ext cx="2111953" cy="619900"/>
          </a:xfrm>
          <a:prstGeom prst="rect">
            <a:avLst/>
          </a:prstGeom>
        </p:spPr>
        <p:txBody>
          <a:bodyPr lIns="0" tIns="0" rIns="0" bIns="0">
            <a:noAutofit/>
          </a:bodyPr>
          <a:lstStyle>
            <a:lvl1pPr marL="0" indent="0" algn="r">
              <a:lnSpc>
                <a:spcPct val="120000"/>
              </a:lnSpc>
              <a:buNone/>
              <a:defRPr sz="3400" b="0" i="0" baseline="0">
                <a:solidFill>
                  <a:schemeClr val="accent2"/>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Thank</a:t>
            </a:r>
            <a:r>
              <a:rPr lang="es-ES" dirty="0"/>
              <a:t> </a:t>
            </a:r>
            <a:r>
              <a:rPr lang="es-ES" dirty="0" err="1"/>
              <a:t>you</a:t>
            </a:r>
            <a:endParaRPr lang="es-ES" dirty="0"/>
          </a:p>
        </p:txBody>
      </p:sp>
      <p:cxnSp>
        <p:nvCxnSpPr>
          <p:cNvPr id="6" name="Conector recto 5">
            <a:extLst>
              <a:ext uri="{FF2B5EF4-FFF2-40B4-BE49-F238E27FC236}">
                <a16:creationId xmlns:a16="http://schemas.microsoft.com/office/drawing/2014/main" id="{49C53E21-99C2-4852-BA0C-70E066691AB7}"/>
              </a:ext>
            </a:extLst>
          </p:cNvPr>
          <p:cNvCxnSpPr>
            <a:cxnSpLocks/>
          </p:cNvCxnSpPr>
          <p:nvPr userDrawn="1"/>
        </p:nvCxnSpPr>
        <p:spPr>
          <a:xfrm>
            <a:off x="6116757" y="3109804"/>
            <a:ext cx="204065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A9BDE23-23DF-4891-80AB-6B531FD95491}"/>
              </a:ext>
            </a:extLst>
          </p:cNvPr>
          <p:cNvCxnSpPr>
            <a:cxnSpLocks/>
          </p:cNvCxnSpPr>
          <p:nvPr userDrawn="1"/>
        </p:nvCxnSpPr>
        <p:spPr>
          <a:xfrm>
            <a:off x="3832058" y="3663874"/>
            <a:ext cx="225522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97499DA0-FC3E-4270-9383-217F6E3C6CFE}"/>
              </a:ext>
            </a:extLst>
          </p:cNvPr>
          <p:cNvSpPr>
            <a:spLocks noGrp="1"/>
          </p:cNvSpPr>
          <p:nvPr>
            <p:ph type="body" sz="quarter" idx="50" hasCustomPrompt="1"/>
          </p:nvPr>
        </p:nvSpPr>
        <p:spPr>
          <a:xfrm>
            <a:off x="6247989" y="2376889"/>
            <a:ext cx="1909422" cy="619900"/>
          </a:xfrm>
          <a:prstGeom prst="rect">
            <a:avLst/>
          </a:prstGeom>
        </p:spPr>
        <p:txBody>
          <a:bodyPr lIns="0" tIns="0" rIns="0" bIns="0">
            <a:noAutofit/>
          </a:bodyPr>
          <a:lstStyle>
            <a:lvl1pPr marL="0" indent="0">
              <a:lnSpc>
                <a:spcPct val="120000"/>
              </a:lnSpc>
              <a:buNone/>
              <a:defRPr sz="3400" b="0" i="0" baseline="0">
                <a:solidFill>
                  <a:schemeClr val="accent2"/>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a:t>Gracias</a:t>
            </a:r>
          </a:p>
        </p:txBody>
      </p:sp>
    </p:spTree>
    <p:extLst>
      <p:ext uri="{BB962C8B-B14F-4D97-AF65-F5344CB8AC3E}">
        <p14:creationId xmlns:p14="http://schemas.microsoft.com/office/powerpoint/2010/main" val="2864774735"/>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_DTB">
    <p:bg>
      <p:bgPr>
        <a:solidFill>
          <a:schemeClr val="accent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D39175EB-A6F1-4463-9476-78BB190E4B5E}"/>
              </a:ext>
            </a:extLst>
          </p:cNvPr>
          <p:cNvSpPr/>
          <p:nvPr userDrawn="1"/>
        </p:nvSpPr>
        <p:spPr>
          <a:xfrm>
            <a:off x="0" y="0"/>
            <a:ext cx="12192000" cy="698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5" name="Marcador de texto 4">
            <a:extLst>
              <a:ext uri="{FF2B5EF4-FFF2-40B4-BE49-F238E27FC236}">
                <a16:creationId xmlns:a16="http://schemas.microsoft.com/office/drawing/2014/main" id="{8B2CE2F8-B113-49C1-8547-184D1781E7C5}"/>
              </a:ext>
            </a:extLst>
          </p:cNvPr>
          <p:cNvSpPr>
            <a:spLocks noGrp="1"/>
          </p:cNvSpPr>
          <p:nvPr>
            <p:ph type="body" sz="quarter" idx="49" hasCustomPrompt="1"/>
          </p:nvPr>
        </p:nvSpPr>
        <p:spPr>
          <a:xfrm>
            <a:off x="3832057" y="2966693"/>
            <a:ext cx="2111953"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Thank</a:t>
            </a:r>
            <a:r>
              <a:rPr lang="es-ES" dirty="0"/>
              <a:t> </a:t>
            </a:r>
            <a:r>
              <a:rPr lang="es-ES" dirty="0" err="1"/>
              <a:t>you</a:t>
            </a:r>
            <a:endParaRPr lang="es-ES" dirty="0"/>
          </a:p>
        </p:txBody>
      </p:sp>
      <p:cxnSp>
        <p:nvCxnSpPr>
          <p:cNvPr id="6" name="Conector recto 5">
            <a:extLst>
              <a:ext uri="{FF2B5EF4-FFF2-40B4-BE49-F238E27FC236}">
                <a16:creationId xmlns:a16="http://schemas.microsoft.com/office/drawing/2014/main" id="{49C53E21-99C2-4852-BA0C-70E066691AB7}"/>
              </a:ext>
            </a:extLst>
          </p:cNvPr>
          <p:cNvCxnSpPr>
            <a:cxnSpLocks/>
          </p:cNvCxnSpPr>
          <p:nvPr userDrawn="1"/>
        </p:nvCxnSpPr>
        <p:spPr>
          <a:xfrm>
            <a:off x="6116757" y="3109804"/>
            <a:ext cx="204065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A9BDE23-23DF-4891-80AB-6B531FD95491}"/>
              </a:ext>
            </a:extLst>
          </p:cNvPr>
          <p:cNvCxnSpPr>
            <a:cxnSpLocks/>
          </p:cNvCxnSpPr>
          <p:nvPr userDrawn="1"/>
        </p:nvCxnSpPr>
        <p:spPr>
          <a:xfrm>
            <a:off x="3832058" y="3663874"/>
            <a:ext cx="225522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97499DA0-FC3E-4270-9383-217F6E3C6CFE}"/>
              </a:ext>
            </a:extLst>
          </p:cNvPr>
          <p:cNvSpPr>
            <a:spLocks noGrp="1"/>
          </p:cNvSpPr>
          <p:nvPr>
            <p:ph type="body" sz="quarter" idx="50" hasCustomPrompt="1"/>
          </p:nvPr>
        </p:nvSpPr>
        <p:spPr>
          <a:xfrm>
            <a:off x="6247989" y="2376889"/>
            <a:ext cx="1909422"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a:t>Gracias</a:t>
            </a:r>
          </a:p>
        </p:txBody>
      </p:sp>
      <p:pic>
        <p:nvPicPr>
          <p:cNvPr id="10" name="Gráfico 9">
            <a:extLst>
              <a:ext uri="{FF2B5EF4-FFF2-40B4-BE49-F238E27FC236}">
                <a16:creationId xmlns:a16="http://schemas.microsoft.com/office/drawing/2014/main" id="{0736881D-BBF2-444C-8441-265893FC95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83274" y="5925848"/>
            <a:ext cx="3181298" cy="549853"/>
          </a:xfrm>
          <a:prstGeom prst="rect">
            <a:avLst/>
          </a:prstGeom>
        </p:spPr>
      </p:pic>
    </p:spTree>
    <p:extLst>
      <p:ext uri="{BB962C8B-B14F-4D97-AF65-F5344CB8AC3E}">
        <p14:creationId xmlns:p14="http://schemas.microsoft.com/office/powerpoint/2010/main" val="3278751508"/>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Grey">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CD5F0CF-A59C-45D8-8B90-4C68A4735927}"/>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3" name="Conector recto 2">
            <a:extLst>
              <a:ext uri="{FF2B5EF4-FFF2-40B4-BE49-F238E27FC236}">
                <a16:creationId xmlns:a16="http://schemas.microsoft.com/office/drawing/2014/main" id="{8E9D0C20-A937-47C8-87DD-C13BE947DB6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0931606"/>
      </p:ext>
    </p:extLst>
  </p:cSld>
  <p:clrMapOvr>
    <a:masterClrMapping/>
  </p:clrMapOvr>
  <p:extLst>
    <p:ext uri="{DCECCB84-F9BA-43D5-87BE-67443E8EF086}">
      <p15:sldGuideLst xmlns:p15="http://schemas.microsoft.com/office/powerpoint/2012/main">
        <p15:guide id="2" pos="740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623338"/>
      </p:ext>
    </p:extLst>
  </p:cSld>
  <p:clrMapOvr>
    <a:masterClrMapping/>
  </p:clrMapOvr>
  <p:extLst>
    <p:ext uri="{DCECCB84-F9BA-43D5-87BE-67443E8EF086}">
      <p15:sldGuideLst xmlns:p15="http://schemas.microsoft.com/office/powerpoint/2012/main">
        <p15:guide id="2" pos="740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222172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tex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Marcador de texto 4">
            <a:extLst>
              <a:ext uri="{FF2B5EF4-FFF2-40B4-BE49-F238E27FC236}">
                <a16:creationId xmlns:a16="http://schemas.microsoft.com/office/drawing/2014/main" id="{89BC3D96-72AD-4103-B6F1-48C1373326B1}"/>
              </a:ext>
            </a:extLst>
          </p:cNvPr>
          <p:cNvSpPr>
            <a:spLocks noGrp="1"/>
          </p:cNvSpPr>
          <p:nvPr>
            <p:ph type="body" sz="quarter" idx="24" hasCustomPrompt="1"/>
          </p:nvPr>
        </p:nvSpPr>
        <p:spPr>
          <a:xfrm>
            <a:off x="6827359" y="2001528"/>
            <a:ext cx="4923316" cy="4106220"/>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6" name="Marcador de texto 4">
            <a:extLst>
              <a:ext uri="{FF2B5EF4-FFF2-40B4-BE49-F238E27FC236}">
                <a16:creationId xmlns:a16="http://schemas.microsoft.com/office/drawing/2014/main" id="{B39BD0FF-87E8-4E82-AC8D-F2C3BE9473DF}"/>
              </a:ext>
            </a:extLst>
          </p:cNvPr>
          <p:cNvSpPr>
            <a:spLocks noGrp="1"/>
          </p:cNvSpPr>
          <p:nvPr>
            <p:ph type="body" sz="quarter" idx="47" hasCustomPrompt="1"/>
          </p:nvPr>
        </p:nvSpPr>
        <p:spPr>
          <a:xfrm>
            <a:off x="6818314" y="1691640"/>
            <a:ext cx="4932363"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5" name="Marcador de contenido 14">
            <a:extLst>
              <a:ext uri="{FF2B5EF4-FFF2-40B4-BE49-F238E27FC236}">
                <a16:creationId xmlns:a16="http://schemas.microsoft.com/office/drawing/2014/main" id="{7F9DB77A-2827-410A-B8AD-D75217F5F0C1}"/>
              </a:ext>
            </a:extLst>
          </p:cNvPr>
          <p:cNvSpPr>
            <a:spLocks noGrp="1"/>
          </p:cNvSpPr>
          <p:nvPr>
            <p:ph sz="quarter" idx="48" hasCustomPrompt="1"/>
          </p:nvPr>
        </p:nvSpPr>
        <p:spPr>
          <a:xfrm>
            <a:off x="454027" y="1692275"/>
            <a:ext cx="5316538" cy="4368800"/>
          </a:xfrm>
          <a:prstGeom prst="rect">
            <a:avLst/>
          </a:prstGeom>
        </p:spPr>
        <p:txBody>
          <a:bodyPr/>
          <a:lstStyle>
            <a:lvl1pPr marL="0" indent="0">
              <a:buNone/>
              <a:defRPr sz="1200"/>
            </a:lvl1pPr>
            <a:lvl2pPr marL="371475" indent="0">
              <a:buNone/>
              <a:defRPr/>
            </a:lvl2pPr>
            <a:lvl3pPr marL="742950" indent="0">
              <a:buNone/>
              <a:defRPr/>
            </a:lvl3pPr>
            <a:lvl4pPr marL="1114425" indent="0">
              <a:buNone/>
              <a:defRPr/>
            </a:lvl4pPr>
            <a:lvl5pPr marL="1485900" indent="0">
              <a:buNone/>
              <a:defRPr/>
            </a:lvl5pPr>
          </a:lstStyle>
          <a:p>
            <a:pPr lvl="0"/>
            <a:r>
              <a:rPr lang="es-ES" dirty="0" err="1"/>
              <a:t>Object</a:t>
            </a:r>
            <a:endParaRPr lang="es-ES" dirty="0"/>
          </a:p>
        </p:txBody>
      </p:sp>
    </p:spTree>
    <p:extLst>
      <p:ext uri="{BB962C8B-B14F-4D97-AF65-F5344CB8AC3E}">
        <p14:creationId xmlns:p14="http://schemas.microsoft.com/office/powerpoint/2010/main" val="1174543948"/>
      </p:ext>
    </p:extLst>
  </p:cSld>
  <p:clrMapOvr>
    <a:masterClrMapping/>
  </p:clrMapOvr>
  <p:extLst>
    <p:ext uri="{DCECCB84-F9BA-43D5-87BE-67443E8EF086}">
      <p15:sldGuideLst xmlns:p15="http://schemas.microsoft.com/office/powerpoint/2012/main">
        <p15:guide id="2" pos="3636" userDrawn="1">
          <p15:clr>
            <a:srgbClr val="FBAE40"/>
          </p15:clr>
        </p15:guide>
        <p15:guide id="3" pos="404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Marcador de texto 4">
            <a:extLst>
              <a:ext uri="{FF2B5EF4-FFF2-40B4-BE49-F238E27FC236}">
                <a16:creationId xmlns:a16="http://schemas.microsoft.com/office/drawing/2014/main" id="{89BC3D96-72AD-4103-B6F1-48C1373326B1}"/>
              </a:ext>
            </a:extLst>
          </p:cNvPr>
          <p:cNvSpPr>
            <a:spLocks noGrp="1"/>
          </p:cNvSpPr>
          <p:nvPr>
            <p:ph type="body" sz="quarter" idx="24" hasCustomPrompt="1"/>
          </p:nvPr>
        </p:nvSpPr>
        <p:spPr>
          <a:xfrm>
            <a:off x="6420338" y="2002163"/>
            <a:ext cx="5319225" cy="4106220"/>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6" name="Marcador de texto 4">
            <a:extLst>
              <a:ext uri="{FF2B5EF4-FFF2-40B4-BE49-F238E27FC236}">
                <a16:creationId xmlns:a16="http://schemas.microsoft.com/office/drawing/2014/main" id="{B39BD0FF-87E8-4E82-AC8D-F2C3BE9473DF}"/>
              </a:ext>
            </a:extLst>
          </p:cNvPr>
          <p:cNvSpPr>
            <a:spLocks noGrp="1"/>
          </p:cNvSpPr>
          <p:nvPr>
            <p:ph type="body" sz="quarter" idx="47" hasCustomPrompt="1"/>
          </p:nvPr>
        </p:nvSpPr>
        <p:spPr>
          <a:xfrm>
            <a:off x="6420341" y="1692275"/>
            <a:ext cx="5319225"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5" name="Marcador de contenido 14">
            <a:extLst>
              <a:ext uri="{FF2B5EF4-FFF2-40B4-BE49-F238E27FC236}">
                <a16:creationId xmlns:a16="http://schemas.microsoft.com/office/drawing/2014/main" id="{7F9DB77A-2827-410A-B8AD-D75217F5F0C1}"/>
              </a:ext>
            </a:extLst>
          </p:cNvPr>
          <p:cNvSpPr>
            <a:spLocks noGrp="1"/>
          </p:cNvSpPr>
          <p:nvPr>
            <p:ph sz="quarter" idx="48" hasCustomPrompt="1"/>
          </p:nvPr>
        </p:nvSpPr>
        <p:spPr>
          <a:xfrm>
            <a:off x="452437" y="1692275"/>
            <a:ext cx="5316538" cy="4368800"/>
          </a:xfrm>
          <a:prstGeom prst="rect">
            <a:avLst/>
          </a:prstGeom>
        </p:spPr>
        <p:txBody>
          <a:bodyPr/>
          <a:lstStyle>
            <a:lvl1pPr marL="0" indent="0">
              <a:buNone/>
              <a:defRPr sz="1200"/>
            </a:lvl1pPr>
            <a:lvl2pPr marL="371475" indent="0">
              <a:buNone/>
              <a:defRPr/>
            </a:lvl2pPr>
            <a:lvl3pPr marL="742950" indent="0">
              <a:buNone/>
              <a:defRPr/>
            </a:lvl3pPr>
            <a:lvl4pPr marL="1114425" indent="0">
              <a:buNone/>
              <a:defRPr/>
            </a:lvl4pPr>
            <a:lvl5pPr marL="1485900" indent="0">
              <a:buNone/>
              <a:defRPr/>
            </a:lvl5pPr>
          </a:lstStyle>
          <a:p>
            <a:pPr lvl="0"/>
            <a:r>
              <a:rPr lang="es-ES" dirty="0" err="1"/>
              <a:t>Object</a:t>
            </a:r>
            <a:endParaRPr lang="es-ES" dirty="0"/>
          </a:p>
        </p:txBody>
      </p:sp>
    </p:spTree>
    <p:extLst>
      <p:ext uri="{BB962C8B-B14F-4D97-AF65-F5344CB8AC3E}">
        <p14:creationId xmlns:p14="http://schemas.microsoft.com/office/powerpoint/2010/main" val="3905344509"/>
      </p:ext>
    </p:extLst>
  </p:cSld>
  <p:clrMapOvr>
    <a:masterClrMapping/>
  </p:clrMapOvr>
  <p:extLst>
    <p:ext uri="{DCECCB84-F9BA-43D5-87BE-67443E8EF086}">
      <p15:sldGuideLst xmlns:p15="http://schemas.microsoft.com/office/powerpoint/2012/main">
        <p15:guide id="2" pos="3636" userDrawn="1">
          <p15:clr>
            <a:srgbClr val="FBAE40"/>
          </p15:clr>
        </p15:guide>
        <p15:guide id="3" pos="4044"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Marcador de texto 4">
            <a:extLst>
              <a:ext uri="{FF2B5EF4-FFF2-40B4-BE49-F238E27FC236}">
                <a16:creationId xmlns:a16="http://schemas.microsoft.com/office/drawing/2014/main" id="{5CABBC28-838E-4E75-B2CC-19063D2B85C0}"/>
              </a:ext>
            </a:extLst>
          </p:cNvPr>
          <p:cNvSpPr>
            <a:spLocks noGrp="1"/>
          </p:cNvSpPr>
          <p:nvPr>
            <p:ph type="body" sz="quarter" idx="48" hasCustomPrompt="1"/>
          </p:nvPr>
        </p:nvSpPr>
        <p:spPr>
          <a:xfrm>
            <a:off x="6419850" y="2001528"/>
            <a:ext cx="533019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8" name="Marcador de texto 4">
            <a:extLst>
              <a:ext uri="{FF2B5EF4-FFF2-40B4-BE49-F238E27FC236}">
                <a16:creationId xmlns:a16="http://schemas.microsoft.com/office/drawing/2014/main" id="{22FF684A-1120-4A8E-A122-8486CD10B232}"/>
              </a:ext>
            </a:extLst>
          </p:cNvPr>
          <p:cNvSpPr>
            <a:spLocks noGrp="1"/>
          </p:cNvSpPr>
          <p:nvPr>
            <p:ph type="body" sz="quarter" idx="49" hasCustomPrompt="1"/>
          </p:nvPr>
        </p:nvSpPr>
        <p:spPr>
          <a:xfrm>
            <a:off x="6419850" y="1691640"/>
            <a:ext cx="5329238"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8"/>
            <a:ext cx="533019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1" y="1691640"/>
            <a:ext cx="5329238"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3558840920"/>
      </p:ext>
    </p:extLst>
  </p:cSld>
  <p:clrMapOvr>
    <a:masterClrMapping/>
  </p:clrMapOvr>
  <p:extLst>
    <p:ext uri="{DCECCB84-F9BA-43D5-87BE-67443E8EF086}">
      <p15:sldGuideLst xmlns:p15="http://schemas.microsoft.com/office/powerpoint/2012/main">
        <p15:guide id="1" pos="4044" userDrawn="1">
          <p15:clr>
            <a:srgbClr val="FBAE40"/>
          </p15:clr>
        </p15:guide>
        <p15:guide id="2" orient="horz" pos="1071"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Texts 2 Graph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Marcador de texto 4">
            <a:extLst>
              <a:ext uri="{FF2B5EF4-FFF2-40B4-BE49-F238E27FC236}">
                <a16:creationId xmlns:a16="http://schemas.microsoft.com/office/drawing/2014/main" id="{5CABBC28-838E-4E75-B2CC-19063D2B85C0}"/>
              </a:ext>
            </a:extLst>
          </p:cNvPr>
          <p:cNvSpPr>
            <a:spLocks noGrp="1"/>
          </p:cNvSpPr>
          <p:nvPr>
            <p:ph type="body" sz="quarter" idx="48" hasCustomPrompt="1"/>
          </p:nvPr>
        </p:nvSpPr>
        <p:spPr>
          <a:xfrm>
            <a:off x="6419850" y="2001529"/>
            <a:ext cx="5330190" cy="129031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8" name="Marcador de texto 4">
            <a:extLst>
              <a:ext uri="{FF2B5EF4-FFF2-40B4-BE49-F238E27FC236}">
                <a16:creationId xmlns:a16="http://schemas.microsoft.com/office/drawing/2014/main" id="{22FF684A-1120-4A8E-A122-8486CD10B232}"/>
              </a:ext>
            </a:extLst>
          </p:cNvPr>
          <p:cNvSpPr>
            <a:spLocks noGrp="1"/>
          </p:cNvSpPr>
          <p:nvPr>
            <p:ph type="body" sz="quarter" idx="49" hasCustomPrompt="1"/>
          </p:nvPr>
        </p:nvSpPr>
        <p:spPr>
          <a:xfrm>
            <a:off x="6419850" y="1691640"/>
            <a:ext cx="5329238"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9"/>
            <a:ext cx="5330190" cy="129031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9259" y="1691640"/>
            <a:ext cx="532051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8" name="Marcador de gráfico 3">
            <a:extLst>
              <a:ext uri="{FF2B5EF4-FFF2-40B4-BE49-F238E27FC236}">
                <a16:creationId xmlns:a16="http://schemas.microsoft.com/office/drawing/2014/main" id="{A534100C-A7C2-47DE-9915-7861CD80024C}"/>
              </a:ext>
            </a:extLst>
          </p:cNvPr>
          <p:cNvSpPr>
            <a:spLocks noGrp="1"/>
          </p:cNvSpPr>
          <p:nvPr>
            <p:ph type="chart" sz="quarter" idx="65" hasCustomPrompt="1"/>
          </p:nvPr>
        </p:nvSpPr>
        <p:spPr>
          <a:xfrm>
            <a:off x="443525" y="3970790"/>
            <a:ext cx="5352987" cy="2266501"/>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9" name="Marcador de texto 4">
            <a:extLst>
              <a:ext uri="{FF2B5EF4-FFF2-40B4-BE49-F238E27FC236}">
                <a16:creationId xmlns:a16="http://schemas.microsoft.com/office/drawing/2014/main" id="{325A055B-C838-43E5-AC0B-878944DF80F4}"/>
              </a:ext>
            </a:extLst>
          </p:cNvPr>
          <p:cNvSpPr>
            <a:spLocks noGrp="1"/>
          </p:cNvSpPr>
          <p:nvPr>
            <p:ph type="body" sz="quarter" idx="31" hasCustomPrompt="1"/>
          </p:nvPr>
        </p:nvSpPr>
        <p:spPr>
          <a:xfrm>
            <a:off x="443523" y="3486084"/>
            <a:ext cx="5362325"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0" name="Marcador de texto 4">
            <a:extLst>
              <a:ext uri="{FF2B5EF4-FFF2-40B4-BE49-F238E27FC236}">
                <a16:creationId xmlns:a16="http://schemas.microsoft.com/office/drawing/2014/main" id="{6599239B-B8B4-40AD-BBE6-511C91D1F35C}"/>
              </a:ext>
            </a:extLst>
          </p:cNvPr>
          <p:cNvSpPr>
            <a:spLocks noGrp="1"/>
          </p:cNvSpPr>
          <p:nvPr>
            <p:ph type="body" sz="quarter" idx="66" hasCustomPrompt="1"/>
          </p:nvPr>
        </p:nvSpPr>
        <p:spPr>
          <a:xfrm>
            <a:off x="439867" y="3718279"/>
            <a:ext cx="536597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11" name="Marcador de gráfico 3">
            <a:extLst>
              <a:ext uri="{FF2B5EF4-FFF2-40B4-BE49-F238E27FC236}">
                <a16:creationId xmlns:a16="http://schemas.microsoft.com/office/drawing/2014/main" id="{88231BB7-4DC5-412C-A632-7301D2649DB2}"/>
              </a:ext>
            </a:extLst>
          </p:cNvPr>
          <p:cNvSpPr>
            <a:spLocks noGrp="1"/>
          </p:cNvSpPr>
          <p:nvPr>
            <p:ph type="chart" sz="quarter" idx="67" hasCustomPrompt="1"/>
          </p:nvPr>
        </p:nvSpPr>
        <p:spPr>
          <a:xfrm>
            <a:off x="6398848" y="3970790"/>
            <a:ext cx="5352987" cy="2266501"/>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2" name="Marcador de texto 4">
            <a:extLst>
              <a:ext uri="{FF2B5EF4-FFF2-40B4-BE49-F238E27FC236}">
                <a16:creationId xmlns:a16="http://schemas.microsoft.com/office/drawing/2014/main" id="{268C0BF3-5A29-4B8B-A9C2-D473954B5BAD}"/>
              </a:ext>
            </a:extLst>
          </p:cNvPr>
          <p:cNvSpPr>
            <a:spLocks noGrp="1"/>
          </p:cNvSpPr>
          <p:nvPr>
            <p:ph type="body" sz="quarter" idx="68" hasCustomPrompt="1"/>
          </p:nvPr>
        </p:nvSpPr>
        <p:spPr>
          <a:xfrm>
            <a:off x="6398846" y="3486084"/>
            <a:ext cx="5362325"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3" name="Marcador de texto 4">
            <a:extLst>
              <a:ext uri="{FF2B5EF4-FFF2-40B4-BE49-F238E27FC236}">
                <a16:creationId xmlns:a16="http://schemas.microsoft.com/office/drawing/2014/main" id="{4BAC8A95-21EE-4B3F-92AD-36F23407443B}"/>
              </a:ext>
            </a:extLst>
          </p:cNvPr>
          <p:cNvSpPr>
            <a:spLocks noGrp="1"/>
          </p:cNvSpPr>
          <p:nvPr>
            <p:ph type="body" sz="quarter" idx="69" hasCustomPrompt="1"/>
          </p:nvPr>
        </p:nvSpPr>
        <p:spPr>
          <a:xfrm>
            <a:off x="6395190" y="3718279"/>
            <a:ext cx="536597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457295298"/>
      </p:ext>
    </p:extLst>
  </p:cSld>
  <p:clrMapOvr>
    <a:masterClrMapping/>
  </p:clrMapOvr>
  <p:extLst>
    <p:ext uri="{DCECCB84-F9BA-43D5-87BE-67443E8EF086}">
      <p15:sldGuideLst xmlns:p15="http://schemas.microsoft.com/office/powerpoint/2012/main">
        <p15:guide id="1" pos="4036" userDrawn="1">
          <p15:clr>
            <a:srgbClr val="FBAE40"/>
          </p15:clr>
        </p15:guide>
        <p15:guide id="2" orient="horz" pos="107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05">
    <p:spTree>
      <p:nvGrpSpPr>
        <p:cNvPr id="1" name=""/>
        <p:cNvGrpSpPr/>
        <p:nvPr/>
      </p:nvGrpSpPr>
      <p:grpSpPr>
        <a:xfrm>
          <a:off x="0" y="0"/>
          <a:ext cx="0" cy="0"/>
          <a:chOff x="0" y="0"/>
          <a:chExt cx="0" cy="0"/>
        </a:xfrm>
      </p:grpSpPr>
      <p:pic>
        <p:nvPicPr>
          <p:cNvPr id="14" name="Imagen 13" descr="Una persona hablando por teléfono en la calle&#10;&#10;Descripción generada automáticamente con confianza baja">
            <a:extLst>
              <a:ext uri="{FF2B5EF4-FFF2-40B4-BE49-F238E27FC236}">
                <a16:creationId xmlns:a16="http://schemas.microsoft.com/office/drawing/2014/main" id="{6199B7CC-FF45-4609-91BB-69AD45630A0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273622" y="0"/>
            <a:ext cx="7906622" cy="6858000"/>
          </a:xfrm>
          <a:prstGeom prst="rect">
            <a:avLst/>
          </a:prstGeom>
        </p:spPr>
      </p:pic>
      <p:grpSp>
        <p:nvGrpSpPr>
          <p:cNvPr id="9" name="Grupo 8">
            <a:extLst>
              <a:ext uri="{FF2B5EF4-FFF2-40B4-BE49-F238E27FC236}">
                <a16:creationId xmlns:a16="http://schemas.microsoft.com/office/drawing/2014/main" id="{BB57EE8B-DF98-45CD-B769-4B655A96F751}"/>
              </a:ext>
            </a:extLst>
          </p:cNvPr>
          <p:cNvGrpSpPr/>
          <p:nvPr userDrawn="1"/>
        </p:nvGrpSpPr>
        <p:grpSpPr>
          <a:xfrm>
            <a:off x="-12700" y="0"/>
            <a:ext cx="4864100" cy="6858000"/>
            <a:chOff x="-756458" y="0"/>
            <a:chExt cx="4655357" cy="6858000"/>
          </a:xfrm>
          <a:solidFill>
            <a:srgbClr val="F6F6F6"/>
          </a:solidFill>
        </p:grpSpPr>
        <p:sp>
          <p:nvSpPr>
            <p:cNvPr id="10" name="Rectángulo 9">
              <a:extLst>
                <a:ext uri="{FF2B5EF4-FFF2-40B4-BE49-F238E27FC236}">
                  <a16:creationId xmlns:a16="http://schemas.microsoft.com/office/drawing/2014/main" id="{DD3C2D2D-54E9-48E1-B01F-2B83D2704E76}"/>
                </a:ext>
              </a:extLst>
            </p:cNvPr>
            <p:cNvSpPr/>
            <p:nvPr userDrawn="1"/>
          </p:nvSpPr>
          <p:spPr>
            <a:xfrm>
              <a:off x="-756458" y="0"/>
              <a:ext cx="4655357"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5" name="Rectángulo 14">
              <a:extLst>
                <a:ext uri="{FF2B5EF4-FFF2-40B4-BE49-F238E27FC236}">
                  <a16:creationId xmlns:a16="http://schemas.microsoft.com/office/drawing/2014/main" id="{EDCB4A4F-9F0A-440B-BF78-8F6A92C7AA0F}"/>
                </a:ext>
              </a:extLst>
            </p:cNvPr>
            <p:cNvSpPr/>
            <p:nvPr userDrawn="1"/>
          </p:nvSpPr>
          <p:spPr>
            <a:xfrm>
              <a:off x="-756458" y="2273300"/>
              <a:ext cx="4069311" cy="45847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1" name="Título 1">
            <a:extLst>
              <a:ext uri="{FF2B5EF4-FFF2-40B4-BE49-F238E27FC236}">
                <a16:creationId xmlns:a16="http://schemas.microsoft.com/office/drawing/2014/main" id="{76CF1265-6925-4C3C-889D-13DC7F1CD5CD}"/>
              </a:ext>
            </a:extLst>
          </p:cNvPr>
          <p:cNvSpPr>
            <a:spLocks noGrp="1"/>
          </p:cNvSpPr>
          <p:nvPr>
            <p:ph type="ctrTitle" hasCustomPrompt="1"/>
          </p:nvPr>
        </p:nvSpPr>
        <p:spPr>
          <a:xfrm>
            <a:off x="419100" y="736169"/>
            <a:ext cx="3745575" cy="1174928"/>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br>
              <a:rPr lang="es-ES" dirty="0"/>
            </a:br>
            <a:r>
              <a:rPr lang="es-ES" dirty="0" err="1"/>
              <a:t>add</a:t>
            </a:r>
            <a:r>
              <a:rPr lang="es-ES" dirty="0"/>
              <a:t> </a:t>
            </a:r>
            <a:r>
              <a:rPr lang="es-ES" dirty="0" err="1"/>
              <a:t>title</a:t>
            </a:r>
            <a:endParaRPr lang="es-ES" dirty="0"/>
          </a:p>
        </p:txBody>
      </p:sp>
      <p:sp>
        <p:nvSpPr>
          <p:cNvPr id="12" name="Subtítulo 2">
            <a:extLst>
              <a:ext uri="{FF2B5EF4-FFF2-40B4-BE49-F238E27FC236}">
                <a16:creationId xmlns:a16="http://schemas.microsoft.com/office/drawing/2014/main" id="{B72F59BE-42FB-4763-99E8-94F51EBCDC18}"/>
              </a:ext>
            </a:extLst>
          </p:cNvPr>
          <p:cNvSpPr>
            <a:spLocks noGrp="1"/>
          </p:cNvSpPr>
          <p:nvPr>
            <p:ph type="subTitle" idx="1" hasCustomPrompt="1"/>
          </p:nvPr>
        </p:nvSpPr>
        <p:spPr>
          <a:xfrm>
            <a:off x="419100" y="1936315"/>
            <a:ext cx="3759709"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n-US" dirty="0"/>
              <a:t>Click to add a subtitle</a:t>
            </a:r>
          </a:p>
        </p:txBody>
      </p:sp>
      <p:pic>
        <p:nvPicPr>
          <p:cNvPr id="16" name="Gráfico 15">
            <a:extLst>
              <a:ext uri="{FF2B5EF4-FFF2-40B4-BE49-F238E27FC236}">
                <a16:creationId xmlns:a16="http://schemas.microsoft.com/office/drawing/2014/main" id="{EB73D48A-43F4-49A4-A9CF-446550DC77D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9100" y="6050674"/>
            <a:ext cx="2262550" cy="391058"/>
          </a:xfrm>
          <a:prstGeom prst="rect">
            <a:avLst/>
          </a:prstGeom>
        </p:spPr>
      </p:pic>
    </p:spTree>
    <p:extLst>
      <p:ext uri="{BB962C8B-B14F-4D97-AF65-F5344CB8AC3E}">
        <p14:creationId xmlns:p14="http://schemas.microsoft.com/office/powerpoint/2010/main" val="2435117964"/>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3" y="2001528"/>
            <a:ext cx="3341369"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4" name="Marcador de texto 4">
            <a:extLst>
              <a:ext uri="{FF2B5EF4-FFF2-40B4-BE49-F238E27FC236}">
                <a16:creationId xmlns:a16="http://schemas.microsoft.com/office/drawing/2014/main" id="{A5E54CA9-9FF4-4D4C-8935-76F556EC4293}"/>
              </a:ext>
            </a:extLst>
          </p:cNvPr>
          <p:cNvSpPr>
            <a:spLocks noGrp="1"/>
          </p:cNvSpPr>
          <p:nvPr>
            <p:ph type="body" sz="quarter" idx="52" hasCustomPrompt="1"/>
          </p:nvPr>
        </p:nvSpPr>
        <p:spPr>
          <a:xfrm>
            <a:off x="4423413" y="2001528"/>
            <a:ext cx="3341369"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5" name="Marcador de texto 4">
            <a:extLst>
              <a:ext uri="{FF2B5EF4-FFF2-40B4-BE49-F238E27FC236}">
                <a16:creationId xmlns:a16="http://schemas.microsoft.com/office/drawing/2014/main" id="{297E71B9-8675-40F2-A64B-6CF310075141}"/>
              </a:ext>
            </a:extLst>
          </p:cNvPr>
          <p:cNvSpPr>
            <a:spLocks noGrp="1"/>
          </p:cNvSpPr>
          <p:nvPr>
            <p:ph type="body" sz="quarter" idx="53" hasCustomPrompt="1"/>
          </p:nvPr>
        </p:nvSpPr>
        <p:spPr>
          <a:xfrm>
            <a:off x="442341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D1AAA61F-67F6-4210-9E4C-08B0688ED9C5}"/>
              </a:ext>
            </a:extLst>
          </p:cNvPr>
          <p:cNvSpPr>
            <a:spLocks noGrp="1"/>
          </p:cNvSpPr>
          <p:nvPr>
            <p:ph type="body" sz="quarter" idx="54" hasCustomPrompt="1"/>
          </p:nvPr>
        </p:nvSpPr>
        <p:spPr>
          <a:xfrm>
            <a:off x="8416293" y="2001528"/>
            <a:ext cx="3341369"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7" name="Marcador de texto 4">
            <a:extLst>
              <a:ext uri="{FF2B5EF4-FFF2-40B4-BE49-F238E27FC236}">
                <a16:creationId xmlns:a16="http://schemas.microsoft.com/office/drawing/2014/main" id="{2CACDDBE-E3FC-4D22-A808-A5B71A9505E9}"/>
              </a:ext>
            </a:extLst>
          </p:cNvPr>
          <p:cNvSpPr>
            <a:spLocks noGrp="1"/>
          </p:cNvSpPr>
          <p:nvPr>
            <p:ph type="body" sz="quarter" idx="55" hasCustomPrompt="1"/>
          </p:nvPr>
        </p:nvSpPr>
        <p:spPr>
          <a:xfrm>
            <a:off x="841629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3811206394"/>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Texts and objec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3" y="2001528"/>
            <a:ext cx="3341369" cy="164845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4" name="Marcador de texto 4">
            <a:extLst>
              <a:ext uri="{FF2B5EF4-FFF2-40B4-BE49-F238E27FC236}">
                <a16:creationId xmlns:a16="http://schemas.microsoft.com/office/drawing/2014/main" id="{A5E54CA9-9FF4-4D4C-8935-76F556EC4293}"/>
              </a:ext>
            </a:extLst>
          </p:cNvPr>
          <p:cNvSpPr>
            <a:spLocks noGrp="1"/>
          </p:cNvSpPr>
          <p:nvPr>
            <p:ph type="body" sz="quarter" idx="52" hasCustomPrompt="1"/>
          </p:nvPr>
        </p:nvSpPr>
        <p:spPr>
          <a:xfrm>
            <a:off x="4423413" y="2001528"/>
            <a:ext cx="3341369" cy="164845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5" name="Marcador de texto 4">
            <a:extLst>
              <a:ext uri="{FF2B5EF4-FFF2-40B4-BE49-F238E27FC236}">
                <a16:creationId xmlns:a16="http://schemas.microsoft.com/office/drawing/2014/main" id="{297E71B9-8675-40F2-A64B-6CF310075141}"/>
              </a:ext>
            </a:extLst>
          </p:cNvPr>
          <p:cNvSpPr>
            <a:spLocks noGrp="1"/>
          </p:cNvSpPr>
          <p:nvPr>
            <p:ph type="body" sz="quarter" idx="53" hasCustomPrompt="1"/>
          </p:nvPr>
        </p:nvSpPr>
        <p:spPr>
          <a:xfrm>
            <a:off x="442341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D1AAA61F-67F6-4210-9E4C-08B0688ED9C5}"/>
              </a:ext>
            </a:extLst>
          </p:cNvPr>
          <p:cNvSpPr>
            <a:spLocks noGrp="1"/>
          </p:cNvSpPr>
          <p:nvPr>
            <p:ph type="body" sz="quarter" idx="54" hasCustomPrompt="1"/>
          </p:nvPr>
        </p:nvSpPr>
        <p:spPr>
          <a:xfrm>
            <a:off x="8416293" y="2001528"/>
            <a:ext cx="3341369" cy="164845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7" name="Marcador de texto 4">
            <a:extLst>
              <a:ext uri="{FF2B5EF4-FFF2-40B4-BE49-F238E27FC236}">
                <a16:creationId xmlns:a16="http://schemas.microsoft.com/office/drawing/2014/main" id="{2CACDDBE-E3FC-4D22-A808-A5B71A9505E9}"/>
              </a:ext>
            </a:extLst>
          </p:cNvPr>
          <p:cNvSpPr>
            <a:spLocks noGrp="1"/>
          </p:cNvSpPr>
          <p:nvPr>
            <p:ph type="body" sz="quarter" idx="55" hasCustomPrompt="1"/>
          </p:nvPr>
        </p:nvSpPr>
        <p:spPr>
          <a:xfrm>
            <a:off x="841629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0" name="Marcador de contenido 2">
            <a:extLst>
              <a:ext uri="{FF2B5EF4-FFF2-40B4-BE49-F238E27FC236}">
                <a16:creationId xmlns:a16="http://schemas.microsoft.com/office/drawing/2014/main" id="{7E527339-F4B2-4F0A-AB1B-5E840BA4F9A9}"/>
              </a:ext>
            </a:extLst>
          </p:cNvPr>
          <p:cNvSpPr>
            <a:spLocks noGrp="1"/>
          </p:cNvSpPr>
          <p:nvPr>
            <p:ph sz="quarter" idx="60" hasCustomPrompt="1"/>
          </p:nvPr>
        </p:nvSpPr>
        <p:spPr>
          <a:xfrm>
            <a:off x="443524" y="3802066"/>
            <a:ext cx="11322538" cy="2435225"/>
          </a:xfrm>
          <a:prstGeom prst="rect">
            <a:avLst/>
          </a:prstGeom>
        </p:spPr>
        <p:txBody>
          <a:bodyPr/>
          <a:lstStyle>
            <a:lvl1pPr marL="0" indent="0">
              <a:buNone/>
              <a:defRPr sz="1200"/>
            </a:lvl1pPr>
          </a:lstStyle>
          <a:p>
            <a:pPr lvl="0"/>
            <a:r>
              <a:rPr lang="es-ES" dirty="0" err="1"/>
              <a:t>Object</a:t>
            </a:r>
            <a:endParaRPr lang="es-ES" dirty="0"/>
          </a:p>
        </p:txBody>
      </p:sp>
    </p:spTree>
    <p:extLst>
      <p:ext uri="{BB962C8B-B14F-4D97-AF65-F5344CB8AC3E}">
        <p14:creationId xmlns:p14="http://schemas.microsoft.com/office/powerpoint/2010/main" val="156838941"/>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6" name="Marcador de texto 4">
            <a:extLst>
              <a:ext uri="{FF2B5EF4-FFF2-40B4-BE49-F238E27FC236}">
                <a16:creationId xmlns:a16="http://schemas.microsoft.com/office/drawing/2014/main" id="{DC08B26D-FEAE-4BD2-9859-FC875AD50D13}"/>
              </a:ext>
            </a:extLst>
          </p:cNvPr>
          <p:cNvSpPr>
            <a:spLocks noGrp="1"/>
          </p:cNvSpPr>
          <p:nvPr>
            <p:ph type="body" sz="quarter" idx="52" hasCustomPrompt="1"/>
          </p:nvPr>
        </p:nvSpPr>
        <p:spPr>
          <a:xfrm>
            <a:off x="3359151"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7" name="Marcador de texto 4">
            <a:extLst>
              <a:ext uri="{FF2B5EF4-FFF2-40B4-BE49-F238E27FC236}">
                <a16:creationId xmlns:a16="http://schemas.microsoft.com/office/drawing/2014/main" id="{B94D936F-A713-496A-9059-66BCCED8174F}"/>
              </a:ext>
            </a:extLst>
          </p:cNvPr>
          <p:cNvSpPr>
            <a:spLocks noGrp="1"/>
          </p:cNvSpPr>
          <p:nvPr>
            <p:ph type="body" sz="quarter" idx="53" hasCustomPrompt="1"/>
          </p:nvPr>
        </p:nvSpPr>
        <p:spPr>
          <a:xfrm>
            <a:off x="3359151"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8" name="Marcador de texto 4">
            <a:extLst>
              <a:ext uri="{FF2B5EF4-FFF2-40B4-BE49-F238E27FC236}">
                <a16:creationId xmlns:a16="http://schemas.microsoft.com/office/drawing/2014/main" id="{6F6E1165-B366-4B72-A4D3-D5BA0CBB0029}"/>
              </a:ext>
            </a:extLst>
          </p:cNvPr>
          <p:cNvSpPr>
            <a:spLocks noGrp="1"/>
          </p:cNvSpPr>
          <p:nvPr>
            <p:ph type="body" sz="quarter" idx="54" hasCustomPrompt="1"/>
          </p:nvPr>
        </p:nvSpPr>
        <p:spPr>
          <a:xfrm>
            <a:off x="6287771"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4">
            <a:extLst>
              <a:ext uri="{FF2B5EF4-FFF2-40B4-BE49-F238E27FC236}">
                <a16:creationId xmlns:a16="http://schemas.microsoft.com/office/drawing/2014/main" id="{9B738A51-AACA-495B-B606-C135442DA04A}"/>
              </a:ext>
            </a:extLst>
          </p:cNvPr>
          <p:cNvSpPr>
            <a:spLocks noGrp="1"/>
          </p:cNvSpPr>
          <p:nvPr>
            <p:ph type="body" sz="quarter" idx="55" hasCustomPrompt="1"/>
          </p:nvPr>
        </p:nvSpPr>
        <p:spPr>
          <a:xfrm>
            <a:off x="6287770"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2" name="Marcador de texto 4">
            <a:extLst>
              <a:ext uri="{FF2B5EF4-FFF2-40B4-BE49-F238E27FC236}">
                <a16:creationId xmlns:a16="http://schemas.microsoft.com/office/drawing/2014/main" id="{469C4768-3E8E-45F7-8742-31D13A351AD8}"/>
              </a:ext>
            </a:extLst>
          </p:cNvPr>
          <p:cNvSpPr>
            <a:spLocks noGrp="1"/>
          </p:cNvSpPr>
          <p:nvPr>
            <p:ph type="body" sz="quarter" idx="56" hasCustomPrompt="1"/>
          </p:nvPr>
        </p:nvSpPr>
        <p:spPr>
          <a:xfrm>
            <a:off x="9216393" y="2001528"/>
            <a:ext cx="2526030"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3" name="Marcador de texto 4">
            <a:extLst>
              <a:ext uri="{FF2B5EF4-FFF2-40B4-BE49-F238E27FC236}">
                <a16:creationId xmlns:a16="http://schemas.microsoft.com/office/drawing/2014/main" id="{6AE31F30-1E54-4723-885E-60A1530BF591}"/>
              </a:ext>
            </a:extLst>
          </p:cNvPr>
          <p:cNvSpPr>
            <a:spLocks noGrp="1"/>
          </p:cNvSpPr>
          <p:nvPr>
            <p:ph type="body" sz="quarter" idx="57" hasCustomPrompt="1"/>
          </p:nvPr>
        </p:nvSpPr>
        <p:spPr>
          <a:xfrm>
            <a:off x="921639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1206330413"/>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s + objec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2"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6" name="Marcador de texto 4">
            <a:extLst>
              <a:ext uri="{FF2B5EF4-FFF2-40B4-BE49-F238E27FC236}">
                <a16:creationId xmlns:a16="http://schemas.microsoft.com/office/drawing/2014/main" id="{DC08B26D-FEAE-4BD2-9859-FC875AD50D13}"/>
              </a:ext>
            </a:extLst>
          </p:cNvPr>
          <p:cNvSpPr>
            <a:spLocks noGrp="1"/>
          </p:cNvSpPr>
          <p:nvPr>
            <p:ph type="body" sz="quarter" idx="52" hasCustomPrompt="1"/>
          </p:nvPr>
        </p:nvSpPr>
        <p:spPr>
          <a:xfrm>
            <a:off x="3359151"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7" name="Marcador de texto 4">
            <a:extLst>
              <a:ext uri="{FF2B5EF4-FFF2-40B4-BE49-F238E27FC236}">
                <a16:creationId xmlns:a16="http://schemas.microsoft.com/office/drawing/2014/main" id="{B94D936F-A713-496A-9059-66BCCED8174F}"/>
              </a:ext>
            </a:extLst>
          </p:cNvPr>
          <p:cNvSpPr>
            <a:spLocks noGrp="1"/>
          </p:cNvSpPr>
          <p:nvPr>
            <p:ph type="body" sz="quarter" idx="53" hasCustomPrompt="1"/>
          </p:nvPr>
        </p:nvSpPr>
        <p:spPr>
          <a:xfrm>
            <a:off x="3359151"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8" name="Marcador de texto 4">
            <a:extLst>
              <a:ext uri="{FF2B5EF4-FFF2-40B4-BE49-F238E27FC236}">
                <a16:creationId xmlns:a16="http://schemas.microsoft.com/office/drawing/2014/main" id="{6F6E1165-B366-4B72-A4D3-D5BA0CBB0029}"/>
              </a:ext>
            </a:extLst>
          </p:cNvPr>
          <p:cNvSpPr>
            <a:spLocks noGrp="1"/>
          </p:cNvSpPr>
          <p:nvPr>
            <p:ph type="body" sz="quarter" idx="54" hasCustomPrompt="1"/>
          </p:nvPr>
        </p:nvSpPr>
        <p:spPr>
          <a:xfrm>
            <a:off x="6287771"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4">
            <a:extLst>
              <a:ext uri="{FF2B5EF4-FFF2-40B4-BE49-F238E27FC236}">
                <a16:creationId xmlns:a16="http://schemas.microsoft.com/office/drawing/2014/main" id="{9B738A51-AACA-495B-B606-C135442DA04A}"/>
              </a:ext>
            </a:extLst>
          </p:cNvPr>
          <p:cNvSpPr>
            <a:spLocks noGrp="1"/>
          </p:cNvSpPr>
          <p:nvPr>
            <p:ph type="body" sz="quarter" idx="55" hasCustomPrompt="1"/>
          </p:nvPr>
        </p:nvSpPr>
        <p:spPr>
          <a:xfrm>
            <a:off x="6287770"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2" name="Marcador de texto 4">
            <a:extLst>
              <a:ext uri="{FF2B5EF4-FFF2-40B4-BE49-F238E27FC236}">
                <a16:creationId xmlns:a16="http://schemas.microsoft.com/office/drawing/2014/main" id="{469C4768-3E8E-45F7-8742-31D13A351AD8}"/>
              </a:ext>
            </a:extLst>
          </p:cNvPr>
          <p:cNvSpPr>
            <a:spLocks noGrp="1"/>
          </p:cNvSpPr>
          <p:nvPr>
            <p:ph type="body" sz="quarter" idx="56" hasCustomPrompt="1"/>
          </p:nvPr>
        </p:nvSpPr>
        <p:spPr>
          <a:xfrm>
            <a:off x="9216393" y="2001528"/>
            <a:ext cx="2526030" cy="1547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3" name="Marcador de texto 4">
            <a:extLst>
              <a:ext uri="{FF2B5EF4-FFF2-40B4-BE49-F238E27FC236}">
                <a16:creationId xmlns:a16="http://schemas.microsoft.com/office/drawing/2014/main" id="{6AE31F30-1E54-4723-885E-60A1530BF591}"/>
              </a:ext>
            </a:extLst>
          </p:cNvPr>
          <p:cNvSpPr>
            <a:spLocks noGrp="1"/>
          </p:cNvSpPr>
          <p:nvPr>
            <p:ph type="body" sz="quarter" idx="57" hasCustomPrompt="1"/>
          </p:nvPr>
        </p:nvSpPr>
        <p:spPr>
          <a:xfrm>
            <a:off x="9216392" y="1691640"/>
            <a:ext cx="2526030"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2" name="Marcador de contenido 2">
            <a:extLst>
              <a:ext uri="{FF2B5EF4-FFF2-40B4-BE49-F238E27FC236}">
                <a16:creationId xmlns:a16="http://schemas.microsoft.com/office/drawing/2014/main" id="{080ED81B-83CB-4063-82C4-5FB8AF295666}"/>
              </a:ext>
            </a:extLst>
          </p:cNvPr>
          <p:cNvSpPr>
            <a:spLocks noGrp="1"/>
          </p:cNvSpPr>
          <p:nvPr>
            <p:ph sz="quarter" idx="60" hasCustomPrompt="1"/>
          </p:nvPr>
        </p:nvSpPr>
        <p:spPr>
          <a:xfrm>
            <a:off x="443524" y="3802066"/>
            <a:ext cx="11322538" cy="2435225"/>
          </a:xfrm>
          <a:prstGeom prst="rect">
            <a:avLst/>
          </a:prstGeom>
        </p:spPr>
        <p:txBody>
          <a:bodyPr/>
          <a:lstStyle>
            <a:lvl1pPr marL="0" indent="0">
              <a:buNone/>
              <a:defRPr sz="1200"/>
            </a:lvl1pPr>
          </a:lstStyle>
          <a:p>
            <a:pPr lvl="0"/>
            <a:r>
              <a:rPr lang="es-ES" dirty="0" err="1"/>
              <a:t>Object</a:t>
            </a:r>
            <a:endParaRPr lang="es-ES" dirty="0"/>
          </a:p>
        </p:txBody>
      </p:sp>
    </p:spTree>
    <p:extLst>
      <p:ext uri="{BB962C8B-B14F-4D97-AF65-F5344CB8AC3E}">
        <p14:creationId xmlns:p14="http://schemas.microsoft.com/office/powerpoint/2010/main" val="3694289644"/>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8" name="Marcador de texto 4">
            <a:extLst>
              <a:ext uri="{FF2B5EF4-FFF2-40B4-BE49-F238E27FC236}">
                <a16:creationId xmlns:a16="http://schemas.microsoft.com/office/drawing/2014/main" id="{6AD90256-1F21-4D4E-8047-4EB7E526CDE5}"/>
              </a:ext>
            </a:extLst>
          </p:cNvPr>
          <p:cNvSpPr>
            <a:spLocks noGrp="1"/>
          </p:cNvSpPr>
          <p:nvPr>
            <p:ph type="body" sz="quarter" idx="52" hasCustomPrompt="1"/>
          </p:nvPr>
        </p:nvSpPr>
        <p:spPr>
          <a:xfrm>
            <a:off x="277749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9" name="Marcador de texto 4">
            <a:extLst>
              <a:ext uri="{FF2B5EF4-FFF2-40B4-BE49-F238E27FC236}">
                <a16:creationId xmlns:a16="http://schemas.microsoft.com/office/drawing/2014/main" id="{75E22A7A-83AD-4DE8-9CCC-AE0E4931F859}"/>
              </a:ext>
            </a:extLst>
          </p:cNvPr>
          <p:cNvSpPr>
            <a:spLocks noGrp="1"/>
          </p:cNvSpPr>
          <p:nvPr>
            <p:ph type="body" sz="quarter" idx="53" hasCustomPrompt="1"/>
          </p:nvPr>
        </p:nvSpPr>
        <p:spPr>
          <a:xfrm>
            <a:off x="277749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0" name="Marcador de texto 4">
            <a:extLst>
              <a:ext uri="{FF2B5EF4-FFF2-40B4-BE49-F238E27FC236}">
                <a16:creationId xmlns:a16="http://schemas.microsoft.com/office/drawing/2014/main" id="{61EA1515-C262-4ECD-8718-B29C6D0B814F}"/>
              </a:ext>
            </a:extLst>
          </p:cNvPr>
          <p:cNvSpPr>
            <a:spLocks noGrp="1"/>
          </p:cNvSpPr>
          <p:nvPr>
            <p:ph type="body" sz="quarter" idx="54" hasCustomPrompt="1"/>
          </p:nvPr>
        </p:nvSpPr>
        <p:spPr>
          <a:xfrm>
            <a:off x="512445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1" name="Marcador de texto 4">
            <a:extLst>
              <a:ext uri="{FF2B5EF4-FFF2-40B4-BE49-F238E27FC236}">
                <a16:creationId xmlns:a16="http://schemas.microsoft.com/office/drawing/2014/main" id="{E4667152-FA4A-4C86-ABB6-161FE5FCE057}"/>
              </a:ext>
            </a:extLst>
          </p:cNvPr>
          <p:cNvSpPr>
            <a:spLocks noGrp="1"/>
          </p:cNvSpPr>
          <p:nvPr>
            <p:ph type="body" sz="quarter" idx="55" hasCustomPrompt="1"/>
          </p:nvPr>
        </p:nvSpPr>
        <p:spPr>
          <a:xfrm>
            <a:off x="512445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2" name="Marcador de texto 4">
            <a:extLst>
              <a:ext uri="{FF2B5EF4-FFF2-40B4-BE49-F238E27FC236}">
                <a16:creationId xmlns:a16="http://schemas.microsoft.com/office/drawing/2014/main" id="{2D54F16F-5399-4DFF-81DD-05C3C290F378}"/>
              </a:ext>
            </a:extLst>
          </p:cNvPr>
          <p:cNvSpPr>
            <a:spLocks noGrp="1"/>
          </p:cNvSpPr>
          <p:nvPr>
            <p:ph type="body" sz="quarter" idx="56" hasCustomPrompt="1"/>
          </p:nvPr>
        </p:nvSpPr>
        <p:spPr>
          <a:xfrm>
            <a:off x="747141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3" name="Marcador de texto 4">
            <a:extLst>
              <a:ext uri="{FF2B5EF4-FFF2-40B4-BE49-F238E27FC236}">
                <a16:creationId xmlns:a16="http://schemas.microsoft.com/office/drawing/2014/main" id="{806D2E64-8015-4378-99D2-7F3FBB7CE667}"/>
              </a:ext>
            </a:extLst>
          </p:cNvPr>
          <p:cNvSpPr>
            <a:spLocks noGrp="1"/>
          </p:cNvSpPr>
          <p:nvPr>
            <p:ph type="body" sz="quarter" idx="57" hasCustomPrompt="1"/>
          </p:nvPr>
        </p:nvSpPr>
        <p:spPr>
          <a:xfrm>
            <a:off x="747141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4" name="Marcador de texto 4">
            <a:extLst>
              <a:ext uri="{FF2B5EF4-FFF2-40B4-BE49-F238E27FC236}">
                <a16:creationId xmlns:a16="http://schemas.microsoft.com/office/drawing/2014/main" id="{88D31CE1-EB33-4F4E-A333-90BC91B72F02}"/>
              </a:ext>
            </a:extLst>
          </p:cNvPr>
          <p:cNvSpPr>
            <a:spLocks noGrp="1"/>
          </p:cNvSpPr>
          <p:nvPr>
            <p:ph type="body" sz="quarter" idx="58" hasCustomPrompt="1"/>
          </p:nvPr>
        </p:nvSpPr>
        <p:spPr>
          <a:xfrm>
            <a:off x="9818371" y="2001528"/>
            <a:ext cx="1946910" cy="4014788"/>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5" name="Marcador de texto 4">
            <a:extLst>
              <a:ext uri="{FF2B5EF4-FFF2-40B4-BE49-F238E27FC236}">
                <a16:creationId xmlns:a16="http://schemas.microsoft.com/office/drawing/2014/main" id="{1EA41D21-AEBA-4211-B673-E31BF64338BF}"/>
              </a:ext>
            </a:extLst>
          </p:cNvPr>
          <p:cNvSpPr>
            <a:spLocks noGrp="1"/>
          </p:cNvSpPr>
          <p:nvPr>
            <p:ph type="body" sz="quarter" idx="59" hasCustomPrompt="1"/>
          </p:nvPr>
        </p:nvSpPr>
        <p:spPr>
          <a:xfrm>
            <a:off x="981837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4027856028"/>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 Texts and objet">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8" name="Marcador de texto 4">
            <a:extLst>
              <a:ext uri="{FF2B5EF4-FFF2-40B4-BE49-F238E27FC236}">
                <a16:creationId xmlns:a16="http://schemas.microsoft.com/office/drawing/2014/main" id="{6AD90256-1F21-4D4E-8047-4EB7E526CDE5}"/>
              </a:ext>
            </a:extLst>
          </p:cNvPr>
          <p:cNvSpPr>
            <a:spLocks noGrp="1"/>
          </p:cNvSpPr>
          <p:nvPr>
            <p:ph type="body" sz="quarter" idx="52" hasCustomPrompt="1"/>
          </p:nvPr>
        </p:nvSpPr>
        <p:spPr>
          <a:xfrm>
            <a:off x="277749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9" name="Marcador de texto 4">
            <a:extLst>
              <a:ext uri="{FF2B5EF4-FFF2-40B4-BE49-F238E27FC236}">
                <a16:creationId xmlns:a16="http://schemas.microsoft.com/office/drawing/2014/main" id="{75E22A7A-83AD-4DE8-9CCC-AE0E4931F859}"/>
              </a:ext>
            </a:extLst>
          </p:cNvPr>
          <p:cNvSpPr>
            <a:spLocks noGrp="1"/>
          </p:cNvSpPr>
          <p:nvPr>
            <p:ph type="body" sz="quarter" idx="53" hasCustomPrompt="1"/>
          </p:nvPr>
        </p:nvSpPr>
        <p:spPr>
          <a:xfrm>
            <a:off x="277749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0" name="Marcador de texto 4">
            <a:extLst>
              <a:ext uri="{FF2B5EF4-FFF2-40B4-BE49-F238E27FC236}">
                <a16:creationId xmlns:a16="http://schemas.microsoft.com/office/drawing/2014/main" id="{61EA1515-C262-4ECD-8718-B29C6D0B814F}"/>
              </a:ext>
            </a:extLst>
          </p:cNvPr>
          <p:cNvSpPr>
            <a:spLocks noGrp="1"/>
          </p:cNvSpPr>
          <p:nvPr>
            <p:ph type="body" sz="quarter" idx="54" hasCustomPrompt="1"/>
          </p:nvPr>
        </p:nvSpPr>
        <p:spPr>
          <a:xfrm>
            <a:off x="512445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1" name="Marcador de texto 4">
            <a:extLst>
              <a:ext uri="{FF2B5EF4-FFF2-40B4-BE49-F238E27FC236}">
                <a16:creationId xmlns:a16="http://schemas.microsoft.com/office/drawing/2014/main" id="{E4667152-FA4A-4C86-ABB6-161FE5FCE057}"/>
              </a:ext>
            </a:extLst>
          </p:cNvPr>
          <p:cNvSpPr>
            <a:spLocks noGrp="1"/>
          </p:cNvSpPr>
          <p:nvPr>
            <p:ph type="body" sz="quarter" idx="55" hasCustomPrompt="1"/>
          </p:nvPr>
        </p:nvSpPr>
        <p:spPr>
          <a:xfrm>
            <a:off x="512445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2" name="Marcador de texto 4">
            <a:extLst>
              <a:ext uri="{FF2B5EF4-FFF2-40B4-BE49-F238E27FC236}">
                <a16:creationId xmlns:a16="http://schemas.microsoft.com/office/drawing/2014/main" id="{2D54F16F-5399-4DFF-81DD-05C3C290F378}"/>
              </a:ext>
            </a:extLst>
          </p:cNvPr>
          <p:cNvSpPr>
            <a:spLocks noGrp="1"/>
          </p:cNvSpPr>
          <p:nvPr>
            <p:ph type="body" sz="quarter" idx="56" hasCustomPrompt="1"/>
          </p:nvPr>
        </p:nvSpPr>
        <p:spPr>
          <a:xfrm>
            <a:off x="747141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3" name="Marcador de texto 4">
            <a:extLst>
              <a:ext uri="{FF2B5EF4-FFF2-40B4-BE49-F238E27FC236}">
                <a16:creationId xmlns:a16="http://schemas.microsoft.com/office/drawing/2014/main" id="{806D2E64-8015-4378-99D2-7F3FBB7CE667}"/>
              </a:ext>
            </a:extLst>
          </p:cNvPr>
          <p:cNvSpPr>
            <a:spLocks noGrp="1"/>
          </p:cNvSpPr>
          <p:nvPr>
            <p:ph type="body" sz="quarter" idx="57" hasCustomPrompt="1"/>
          </p:nvPr>
        </p:nvSpPr>
        <p:spPr>
          <a:xfrm>
            <a:off x="747141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4" name="Marcador de texto 4">
            <a:extLst>
              <a:ext uri="{FF2B5EF4-FFF2-40B4-BE49-F238E27FC236}">
                <a16:creationId xmlns:a16="http://schemas.microsoft.com/office/drawing/2014/main" id="{88D31CE1-EB33-4F4E-A333-90BC91B72F02}"/>
              </a:ext>
            </a:extLst>
          </p:cNvPr>
          <p:cNvSpPr>
            <a:spLocks noGrp="1"/>
          </p:cNvSpPr>
          <p:nvPr>
            <p:ph type="body" sz="quarter" idx="58" hasCustomPrompt="1"/>
          </p:nvPr>
        </p:nvSpPr>
        <p:spPr>
          <a:xfrm>
            <a:off x="9818371" y="2001528"/>
            <a:ext cx="1946910" cy="1678932"/>
          </a:xfrm>
          <a:prstGeom prst="rect">
            <a:avLst/>
          </a:prstGeom>
        </p:spPr>
        <p:txBody>
          <a:bodyPr lIns="0" tIns="0" rIns="0" bIns="0">
            <a:noAutofit/>
          </a:bodyPr>
          <a:lstStyle>
            <a:lvl1pPr marL="0" indent="0">
              <a:lnSpc>
                <a:spcPct val="100000"/>
              </a:lnSpc>
              <a:buNone/>
              <a:defRPr sz="10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35" name="Marcador de texto 4">
            <a:extLst>
              <a:ext uri="{FF2B5EF4-FFF2-40B4-BE49-F238E27FC236}">
                <a16:creationId xmlns:a16="http://schemas.microsoft.com/office/drawing/2014/main" id="{1EA41D21-AEBA-4211-B673-E31BF64338BF}"/>
              </a:ext>
            </a:extLst>
          </p:cNvPr>
          <p:cNvSpPr>
            <a:spLocks noGrp="1"/>
          </p:cNvSpPr>
          <p:nvPr>
            <p:ph type="body" sz="quarter" idx="59" hasCustomPrompt="1"/>
          </p:nvPr>
        </p:nvSpPr>
        <p:spPr>
          <a:xfrm>
            <a:off x="9818370" y="1691640"/>
            <a:ext cx="1946910" cy="294648"/>
          </a:xfrm>
          <a:prstGeom prst="rect">
            <a:avLst/>
          </a:prstGeom>
        </p:spPr>
        <p:txBody>
          <a:bodyPr lIns="0" tIns="0" rIns="0" bIns="0">
            <a:noAutofit/>
          </a:bodyPr>
          <a:lstStyle>
            <a:lvl1pPr marL="0" indent="0">
              <a:lnSpc>
                <a:spcPct val="100000"/>
              </a:lnSpc>
              <a:buNone/>
              <a:defRPr sz="14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3" name="Marcador de contenido 2">
            <a:extLst>
              <a:ext uri="{FF2B5EF4-FFF2-40B4-BE49-F238E27FC236}">
                <a16:creationId xmlns:a16="http://schemas.microsoft.com/office/drawing/2014/main" id="{821A45D9-B8C5-434B-A776-D67A978AD4A9}"/>
              </a:ext>
            </a:extLst>
          </p:cNvPr>
          <p:cNvSpPr>
            <a:spLocks noGrp="1"/>
          </p:cNvSpPr>
          <p:nvPr>
            <p:ph sz="quarter" idx="60" hasCustomPrompt="1"/>
          </p:nvPr>
        </p:nvSpPr>
        <p:spPr>
          <a:xfrm>
            <a:off x="443524" y="3802066"/>
            <a:ext cx="11322538" cy="2435225"/>
          </a:xfrm>
          <a:prstGeom prst="rect">
            <a:avLst/>
          </a:prstGeom>
        </p:spPr>
        <p:txBody>
          <a:bodyPr/>
          <a:lstStyle>
            <a:lvl1pPr marL="0" indent="0">
              <a:buNone/>
              <a:defRPr sz="1200"/>
            </a:lvl1pPr>
          </a:lstStyle>
          <a:p>
            <a:pPr lvl="0"/>
            <a:r>
              <a:rPr lang="es-ES" dirty="0" err="1"/>
              <a:t>Object</a:t>
            </a:r>
            <a:endParaRPr lang="es-ES" dirty="0"/>
          </a:p>
        </p:txBody>
      </p:sp>
    </p:spTree>
    <p:extLst>
      <p:ext uri="{BB962C8B-B14F-4D97-AF65-F5344CB8AC3E}">
        <p14:creationId xmlns:p14="http://schemas.microsoft.com/office/powerpoint/2010/main" val="1154454055"/>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 Texts">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9F1BD82B-E630-4B23-8BBD-D80538BBE6FF}"/>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5" name="Conector recto 4">
            <a:extLst>
              <a:ext uri="{FF2B5EF4-FFF2-40B4-BE49-F238E27FC236}">
                <a16:creationId xmlns:a16="http://schemas.microsoft.com/office/drawing/2014/main" id="{1CFDC21D-183F-494F-B133-8BF0B4B50EF1}"/>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4">
            <a:extLst>
              <a:ext uri="{FF2B5EF4-FFF2-40B4-BE49-F238E27FC236}">
                <a16:creationId xmlns:a16="http://schemas.microsoft.com/office/drawing/2014/main" id="{E0C86575-1BCD-4949-9EA5-B7F6F2815E85}"/>
              </a:ext>
            </a:extLst>
          </p:cNvPr>
          <p:cNvSpPr>
            <a:spLocks noGrp="1"/>
          </p:cNvSpPr>
          <p:nvPr>
            <p:ph type="body" sz="quarter" idx="50" hasCustomPrompt="1"/>
          </p:nvPr>
        </p:nvSpPr>
        <p:spPr>
          <a:xfrm>
            <a:off x="430533" y="2001528"/>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4">
            <a:extLst>
              <a:ext uri="{FF2B5EF4-FFF2-40B4-BE49-F238E27FC236}">
                <a16:creationId xmlns:a16="http://schemas.microsoft.com/office/drawing/2014/main" id="{286FB7D4-43F9-4AF5-8A85-3CBBD799CFC3}"/>
              </a:ext>
            </a:extLst>
          </p:cNvPr>
          <p:cNvSpPr>
            <a:spLocks noGrp="1"/>
          </p:cNvSpPr>
          <p:nvPr>
            <p:ph type="body" sz="quarter" idx="51" hasCustomPrompt="1"/>
          </p:nvPr>
        </p:nvSpPr>
        <p:spPr>
          <a:xfrm>
            <a:off x="43053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4" name="Marcador de texto 4">
            <a:extLst>
              <a:ext uri="{FF2B5EF4-FFF2-40B4-BE49-F238E27FC236}">
                <a16:creationId xmlns:a16="http://schemas.microsoft.com/office/drawing/2014/main" id="{A5E54CA9-9FF4-4D4C-8935-76F556EC4293}"/>
              </a:ext>
            </a:extLst>
          </p:cNvPr>
          <p:cNvSpPr>
            <a:spLocks noGrp="1"/>
          </p:cNvSpPr>
          <p:nvPr>
            <p:ph type="body" sz="quarter" idx="52" hasCustomPrompt="1"/>
          </p:nvPr>
        </p:nvSpPr>
        <p:spPr>
          <a:xfrm>
            <a:off x="4423413" y="2001528"/>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5" name="Marcador de texto 4">
            <a:extLst>
              <a:ext uri="{FF2B5EF4-FFF2-40B4-BE49-F238E27FC236}">
                <a16:creationId xmlns:a16="http://schemas.microsoft.com/office/drawing/2014/main" id="{297E71B9-8675-40F2-A64B-6CF310075141}"/>
              </a:ext>
            </a:extLst>
          </p:cNvPr>
          <p:cNvSpPr>
            <a:spLocks noGrp="1"/>
          </p:cNvSpPr>
          <p:nvPr>
            <p:ph type="body" sz="quarter" idx="53" hasCustomPrompt="1"/>
          </p:nvPr>
        </p:nvSpPr>
        <p:spPr>
          <a:xfrm>
            <a:off x="442341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D1AAA61F-67F6-4210-9E4C-08B0688ED9C5}"/>
              </a:ext>
            </a:extLst>
          </p:cNvPr>
          <p:cNvSpPr>
            <a:spLocks noGrp="1"/>
          </p:cNvSpPr>
          <p:nvPr>
            <p:ph type="body" sz="quarter" idx="54" hasCustomPrompt="1"/>
          </p:nvPr>
        </p:nvSpPr>
        <p:spPr>
          <a:xfrm>
            <a:off x="8416293" y="2001528"/>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7" name="Marcador de texto 4">
            <a:extLst>
              <a:ext uri="{FF2B5EF4-FFF2-40B4-BE49-F238E27FC236}">
                <a16:creationId xmlns:a16="http://schemas.microsoft.com/office/drawing/2014/main" id="{2CACDDBE-E3FC-4D22-A808-A5B71A9505E9}"/>
              </a:ext>
            </a:extLst>
          </p:cNvPr>
          <p:cNvSpPr>
            <a:spLocks noGrp="1"/>
          </p:cNvSpPr>
          <p:nvPr>
            <p:ph type="body" sz="quarter" idx="55" hasCustomPrompt="1"/>
          </p:nvPr>
        </p:nvSpPr>
        <p:spPr>
          <a:xfrm>
            <a:off x="8416290" y="1691640"/>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0" name="Marcador de texto 4">
            <a:extLst>
              <a:ext uri="{FF2B5EF4-FFF2-40B4-BE49-F238E27FC236}">
                <a16:creationId xmlns:a16="http://schemas.microsoft.com/office/drawing/2014/main" id="{F9CF7978-9721-43A9-9A6E-683593D649FE}"/>
              </a:ext>
            </a:extLst>
          </p:cNvPr>
          <p:cNvSpPr>
            <a:spLocks noGrp="1"/>
          </p:cNvSpPr>
          <p:nvPr>
            <p:ph type="body" sz="quarter" idx="56" hasCustomPrompt="1"/>
          </p:nvPr>
        </p:nvSpPr>
        <p:spPr>
          <a:xfrm>
            <a:off x="430533" y="4174794"/>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1" name="Marcador de texto 4">
            <a:extLst>
              <a:ext uri="{FF2B5EF4-FFF2-40B4-BE49-F238E27FC236}">
                <a16:creationId xmlns:a16="http://schemas.microsoft.com/office/drawing/2014/main" id="{A92C6E7E-1B9A-4B5B-8786-9427101847CB}"/>
              </a:ext>
            </a:extLst>
          </p:cNvPr>
          <p:cNvSpPr>
            <a:spLocks noGrp="1"/>
          </p:cNvSpPr>
          <p:nvPr>
            <p:ph type="body" sz="quarter" idx="57" hasCustomPrompt="1"/>
          </p:nvPr>
        </p:nvSpPr>
        <p:spPr>
          <a:xfrm>
            <a:off x="430530" y="3864906"/>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2" name="Marcador de texto 4">
            <a:extLst>
              <a:ext uri="{FF2B5EF4-FFF2-40B4-BE49-F238E27FC236}">
                <a16:creationId xmlns:a16="http://schemas.microsoft.com/office/drawing/2014/main" id="{9FA8B101-54B2-47F7-9319-DA50FABCBE5B}"/>
              </a:ext>
            </a:extLst>
          </p:cNvPr>
          <p:cNvSpPr>
            <a:spLocks noGrp="1"/>
          </p:cNvSpPr>
          <p:nvPr>
            <p:ph type="body" sz="quarter" idx="58" hasCustomPrompt="1"/>
          </p:nvPr>
        </p:nvSpPr>
        <p:spPr>
          <a:xfrm>
            <a:off x="4423413" y="4174794"/>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3" name="Marcador de texto 4">
            <a:extLst>
              <a:ext uri="{FF2B5EF4-FFF2-40B4-BE49-F238E27FC236}">
                <a16:creationId xmlns:a16="http://schemas.microsoft.com/office/drawing/2014/main" id="{26537227-D7EB-4CCD-810A-72C09E92618C}"/>
              </a:ext>
            </a:extLst>
          </p:cNvPr>
          <p:cNvSpPr>
            <a:spLocks noGrp="1"/>
          </p:cNvSpPr>
          <p:nvPr>
            <p:ph type="body" sz="quarter" idx="59" hasCustomPrompt="1"/>
          </p:nvPr>
        </p:nvSpPr>
        <p:spPr>
          <a:xfrm>
            <a:off x="4423410" y="3864906"/>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14" name="Marcador de texto 4">
            <a:extLst>
              <a:ext uri="{FF2B5EF4-FFF2-40B4-BE49-F238E27FC236}">
                <a16:creationId xmlns:a16="http://schemas.microsoft.com/office/drawing/2014/main" id="{79D245BF-7879-489A-BAB7-C9F6130998F5}"/>
              </a:ext>
            </a:extLst>
          </p:cNvPr>
          <p:cNvSpPr>
            <a:spLocks noGrp="1"/>
          </p:cNvSpPr>
          <p:nvPr>
            <p:ph type="body" sz="quarter" idx="60" hasCustomPrompt="1"/>
          </p:nvPr>
        </p:nvSpPr>
        <p:spPr>
          <a:xfrm>
            <a:off x="8416293" y="4174794"/>
            <a:ext cx="3341369" cy="1136242"/>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5" name="Marcador de texto 4">
            <a:extLst>
              <a:ext uri="{FF2B5EF4-FFF2-40B4-BE49-F238E27FC236}">
                <a16:creationId xmlns:a16="http://schemas.microsoft.com/office/drawing/2014/main" id="{5AA661E4-FA7A-4915-AA9E-67B0BAD696B6}"/>
              </a:ext>
            </a:extLst>
          </p:cNvPr>
          <p:cNvSpPr>
            <a:spLocks noGrp="1"/>
          </p:cNvSpPr>
          <p:nvPr>
            <p:ph type="body" sz="quarter" idx="61" hasCustomPrompt="1"/>
          </p:nvPr>
        </p:nvSpPr>
        <p:spPr>
          <a:xfrm>
            <a:off x="8416290" y="3864906"/>
            <a:ext cx="3341369"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Tree>
    <p:extLst>
      <p:ext uri="{BB962C8B-B14F-4D97-AF65-F5344CB8AC3E}">
        <p14:creationId xmlns:p14="http://schemas.microsoft.com/office/powerpoint/2010/main" val="2024953883"/>
      </p:ext>
    </p:extLst>
  </p:cSld>
  <p:clrMapOvr>
    <a:masterClrMapping/>
  </p:clrMapOvr>
  <p:extLst>
    <p:ext uri="{DCECCB84-F9BA-43D5-87BE-67443E8EF086}">
      <p15:sldGuideLst xmlns:p15="http://schemas.microsoft.com/office/powerpoint/2012/main">
        <p15:guide id="1" pos="4044"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cepts with icons">
    <p:spTree>
      <p:nvGrpSpPr>
        <p:cNvPr id="1" name=""/>
        <p:cNvGrpSpPr/>
        <p:nvPr/>
      </p:nvGrpSpPr>
      <p:grpSpPr>
        <a:xfrm>
          <a:off x="0" y="0"/>
          <a:ext cx="0" cy="0"/>
          <a:chOff x="0" y="0"/>
          <a:chExt cx="0" cy="0"/>
        </a:xfrm>
      </p:grpSpPr>
      <p:sp>
        <p:nvSpPr>
          <p:cNvPr id="10" name="Marcador de texto 4">
            <a:extLst>
              <a:ext uri="{FF2B5EF4-FFF2-40B4-BE49-F238E27FC236}">
                <a16:creationId xmlns:a16="http://schemas.microsoft.com/office/drawing/2014/main" id="{CC2FBE8A-CB65-4639-BE93-14FFE6CC88BD}"/>
              </a:ext>
            </a:extLst>
          </p:cNvPr>
          <p:cNvSpPr>
            <a:spLocks noGrp="1"/>
          </p:cNvSpPr>
          <p:nvPr>
            <p:ph type="body" sz="quarter" idx="24" hasCustomPrompt="1"/>
          </p:nvPr>
        </p:nvSpPr>
        <p:spPr>
          <a:xfrm>
            <a:off x="451961" y="2222500"/>
            <a:ext cx="4348641"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4" name="Marcador de texto 4">
            <a:extLst>
              <a:ext uri="{FF2B5EF4-FFF2-40B4-BE49-F238E27FC236}">
                <a16:creationId xmlns:a16="http://schemas.microsoft.com/office/drawing/2014/main" id="{9B0B5EDF-8213-4E5E-BBAB-F8DEAA36F462}"/>
              </a:ext>
            </a:extLst>
          </p:cNvPr>
          <p:cNvSpPr>
            <a:spLocks noGrp="1"/>
          </p:cNvSpPr>
          <p:nvPr>
            <p:ph type="body" sz="quarter" idx="47" hasCustomPrompt="1"/>
          </p:nvPr>
        </p:nvSpPr>
        <p:spPr>
          <a:xfrm>
            <a:off x="442915" y="1836420"/>
            <a:ext cx="4357687"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
        <p:nvSpPr>
          <p:cNvPr id="11" name="Marcador de texto 5">
            <a:extLst>
              <a:ext uri="{FF2B5EF4-FFF2-40B4-BE49-F238E27FC236}">
                <a16:creationId xmlns:a16="http://schemas.microsoft.com/office/drawing/2014/main" id="{47C1F83D-8FEE-5C4E-9D16-6DBBE6AE8A62}"/>
              </a:ext>
            </a:extLst>
          </p:cNvPr>
          <p:cNvSpPr>
            <a:spLocks noGrp="1"/>
          </p:cNvSpPr>
          <p:nvPr>
            <p:ph type="body" sz="quarter" idx="16" hasCustomPrompt="1"/>
          </p:nvPr>
        </p:nvSpPr>
        <p:spPr>
          <a:xfrm>
            <a:off x="5392933" y="3504687"/>
            <a:ext cx="1924494" cy="335797"/>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sp>
        <p:nvSpPr>
          <p:cNvPr id="13" name="Marcador de texto 5">
            <a:extLst>
              <a:ext uri="{FF2B5EF4-FFF2-40B4-BE49-F238E27FC236}">
                <a16:creationId xmlns:a16="http://schemas.microsoft.com/office/drawing/2014/main" id="{781D2781-599C-054E-9531-5EE9D90701BF}"/>
              </a:ext>
            </a:extLst>
          </p:cNvPr>
          <p:cNvSpPr>
            <a:spLocks noGrp="1"/>
          </p:cNvSpPr>
          <p:nvPr>
            <p:ph type="body" sz="quarter" idx="48" hasCustomPrompt="1"/>
          </p:nvPr>
        </p:nvSpPr>
        <p:spPr>
          <a:xfrm>
            <a:off x="7612922" y="2951791"/>
            <a:ext cx="1924494" cy="31719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sp>
        <p:nvSpPr>
          <p:cNvPr id="16" name="Marcador de texto 5">
            <a:extLst>
              <a:ext uri="{FF2B5EF4-FFF2-40B4-BE49-F238E27FC236}">
                <a16:creationId xmlns:a16="http://schemas.microsoft.com/office/drawing/2014/main" id="{7A24E957-D9F9-104C-A759-0F986B4FC5BD}"/>
              </a:ext>
            </a:extLst>
          </p:cNvPr>
          <p:cNvSpPr>
            <a:spLocks noGrp="1"/>
          </p:cNvSpPr>
          <p:nvPr>
            <p:ph type="body" sz="quarter" idx="49" hasCustomPrompt="1"/>
          </p:nvPr>
        </p:nvSpPr>
        <p:spPr>
          <a:xfrm>
            <a:off x="9803220" y="2398898"/>
            <a:ext cx="1924494" cy="313822"/>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sp>
        <p:nvSpPr>
          <p:cNvPr id="18" name="Título 1">
            <a:extLst>
              <a:ext uri="{FF2B5EF4-FFF2-40B4-BE49-F238E27FC236}">
                <a16:creationId xmlns:a16="http://schemas.microsoft.com/office/drawing/2014/main" id="{03364819-BC4E-4452-BA23-03F03EC78660}"/>
              </a:ext>
            </a:extLst>
          </p:cNvPr>
          <p:cNvSpPr>
            <a:spLocks noGrp="1"/>
          </p:cNvSpPr>
          <p:nvPr>
            <p:ph type="ctrTitle" hasCustomPrompt="1"/>
          </p:nvPr>
        </p:nvSpPr>
        <p:spPr>
          <a:xfrm>
            <a:off x="439260" y="939173"/>
            <a:ext cx="4375787"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9" name="Conector recto 18">
            <a:extLst>
              <a:ext uri="{FF2B5EF4-FFF2-40B4-BE49-F238E27FC236}">
                <a16:creationId xmlns:a16="http://schemas.microsoft.com/office/drawing/2014/main" id="{7A096C12-70EB-495B-B8B1-7E6E9F7E9EB8}"/>
              </a:ext>
            </a:extLst>
          </p:cNvPr>
          <p:cNvCxnSpPr>
            <a:cxnSpLocks/>
          </p:cNvCxnSpPr>
          <p:nvPr userDrawn="1"/>
        </p:nvCxnSpPr>
        <p:spPr>
          <a:xfrm>
            <a:off x="462773" y="797296"/>
            <a:ext cx="435227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Marcador de texto 4">
            <a:extLst>
              <a:ext uri="{FF2B5EF4-FFF2-40B4-BE49-F238E27FC236}">
                <a16:creationId xmlns:a16="http://schemas.microsoft.com/office/drawing/2014/main" id="{75866655-1365-4A48-80E0-EBFD1B8C457B}"/>
              </a:ext>
            </a:extLst>
          </p:cNvPr>
          <p:cNvSpPr>
            <a:spLocks noGrp="1"/>
          </p:cNvSpPr>
          <p:nvPr>
            <p:ph type="body" sz="quarter" idx="50" hasCustomPrompt="1"/>
          </p:nvPr>
        </p:nvSpPr>
        <p:spPr>
          <a:xfrm>
            <a:off x="5389844" y="3855722"/>
            <a:ext cx="1924494" cy="2282506"/>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4">
            <a:extLst>
              <a:ext uri="{FF2B5EF4-FFF2-40B4-BE49-F238E27FC236}">
                <a16:creationId xmlns:a16="http://schemas.microsoft.com/office/drawing/2014/main" id="{C0BC5578-85AE-453E-90FE-6CC81995B7BC}"/>
              </a:ext>
            </a:extLst>
          </p:cNvPr>
          <p:cNvSpPr>
            <a:spLocks noGrp="1"/>
          </p:cNvSpPr>
          <p:nvPr>
            <p:ph type="body" sz="quarter" idx="51" hasCustomPrompt="1"/>
          </p:nvPr>
        </p:nvSpPr>
        <p:spPr>
          <a:xfrm>
            <a:off x="7612922" y="3288347"/>
            <a:ext cx="1924494" cy="2282506"/>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2" name="Marcador de texto 4">
            <a:extLst>
              <a:ext uri="{FF2B5EF4-FFF2-40B4-BE49-F238E27FC236}">
                <a16:creationId xmlns:a16="http://schemas.microsoft.com/office/drawing/2014/main" id="{F903FB2E-FECB-43FD-A778-E1313EE438B5}"/>
              </a:ext>
            </a:extLst>
          </p:cNvPr>
          <p:cNvSpPr>
            <a:spLocks noGrp="1"/>
          </p:cNvSpPr>
          <p:nvPr>
            <p:ph type="body" sz="quarter" idx="52" hasCustomPrompt="1"/>
          </p:nvPr>
        </p:nvSpPr>
        <p:spPr>
          <a:xfrm>
            <a:off x="9810047" y="2731179"/>
            <a:ext cx="1924494" cy="2282506"/>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Tree>
    <p:extLst>
      <p:ext uri="{BB962C8B-B14F-4D97-AF65-F5344CB8AC3E}">
        <p14:creationId xmlns:p14="http://schemas.microsoft.com/office/powerpoint/2010/main" val="278085339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text columns">
    <p:spTree>
      <p:nvGrpSpPr>
        <p:cNvPr id="1" name=""/>
        <p:cNvGrpSpPr/>
        <p:nvPr/>
      </p:nvGrpSpPr>
      <p:grpSpPr>
        <a:xfrm>
          <a:off x="0" y="0"/>
          <a:ext cx="0" cy="0"/>
          <a:chOff x="0" y="0"/>
          <a:chExt cx="0" cy="0"/>
        </a:xfrm>
      </p:grpSpPr>
      <p:sp>
        <p:nvSpPr>
          <p:cNvPr id="11" name="Marcador de texto 5">
            <a:extLst>
              <a:ext uri="{FF2B5EF4-FFF2-40B4-BE49-F238E27FC236}">
                <a16:creationId xmlns:a16="http://schemas.microsoft.com/office/drawing/2014/main" id="{47C1F83D-8FEE-5C4E-9D16-6DBBE6AE8A62}"/>
              </a:ext>
            </a:extLst>
          </p:cNvPr>
          <p:cNvSpPr>
            <a:spLocks noGrp="1"/>
          </p:cNvSpPr>
          <p:nvPr>
            <p:ph type="body" sz="quarter" idx="16" hasCustomPrompt="1"/>
          </p:nvPr>
        </p:nvSpPr>
        <p:spPr>
          <a:xfrm>
            <a:off x="5390708" y="936626"/>
            <a:ext cx="1956390" cy="65885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cxnSp>
        <p:nvCxnSpPr>
          <p:cNvPr id="12" name="Conector recto 11">
            <a:extLst>
              <a:ext uri="{FF2B5EF4-FFF2-40B4-BE49-F238E27FC236}">
                <a16:creationId xmlns:a16="http://schemas.microsoft.com/office/drawing/2014/main" id="{1D2E9031-3A36-AE46-B493-4A5EB019925B}"/>
              </a:ext>
            </a:extLst>
          </p:cNvPr>
          <p:cNvCxnSpPr>
            <a:cxnSpLocks/>
          </p:cNvCxnSpPr>
          <p:nvPr userDrawn="1"/>
        </p:nvCxnSpPr>
        <p:spPr>
          <a:xfrm>
            <a:off x="5370525" y="797296"/>
            <a:ext cx="197889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Marcador de texto 5">
            <a:extLst>
              <a:ext uri="{FF2B5EF4-FFF2-40B4-BE49-F238E27FC236}">
                <a16:creationId xmlns:a16="http://schemas.microsoft.com/office/drawing/2014/main" id="{781D2781-599C-054E-9531-5EE9D90701BF}"/>
              </a:ext>
            </a:extLst>
          </p:cNvPr>
          <p:cNvSpPr>
            <a:spLocks noGrp="1"/>
          </p:cNvSpPr>
          <p:nvPr>
            <p:ph type="body" sz="quarter" idx="48" hasCustomPrompt="1"/>
          </p:nvPr>
        </p:nvSpPr>
        <p:spPr>
          <a:xfrm>
            <a:off x="7581016" y="936626"/>
            <a:ext cx="1956390" cy="65885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cxnSp>
        <p:nvCxnSpPr>
          <p:cNvPr id="15" name="Conector recto 14">
            <a:extLst>
              <a:ext uri="{FF2B5EF4-FFF2-40B4-BE49-F238E27FC236}">
                <a16:creationId xmlns:a16="http://schemas.microsoft.com/office/drawing/2014/main" id="{679A56D5-4D24-A944-80D7-7D5EAD0CF4DF}"/>
              </a:ext>
            </a:extLst>
          </p:cNvPr>
          <p:cNvCxnSpPr>
            <a:cxnSpLocks/>
          </p:cNvCxnSpPr>
          <p:nvPr userDrawn="1"/>
        </p:nvCxnSpPr>
        <p:spPr>
          <a:xfrm>
            <a:off x="7560830" y="797296"/>
            <a:ext cx="197889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Marcador de texto 5">
            <a:extLst>
              <a:ext uri="{FF2B5EF4-FFF2-40B4-BE49-F238E27FC236}">
                <a16:creationId xmlns:a16="http://schemas.microsoft.com/office/drawing/2014/main" id="{7A24E957-D9F9-104C-A759-0F986B4FC5BD}"/>
              </a:ext>
            </a:extLst>
          </p:cNvPr>
          <p:cNvSpPr>
            <a:spLocks noGrp="1"/>
          </p:cNvSpPr>
          <p:nvPr>
            <p:ph type="body" sz="quarter" idx="49" hasCustomPrompt="1"/>
          </p:nvPr>
        </p:nvSpPr>
        <p:spPr>
          <a:xfrm>
            <a:off x="9792579" y="936626"/>
            <a:ext cx="1956390" cy="658850"/>
          </a:xfrm>
          <a:prstGeom prst="rect">
            <a:avLst/>
          </a:prstGeom>
        </p:spPr>
        <p:txBody>
          <a:bodyPr lIns="0" tIns="0" rIns="0" bIns="0"/>
          <a:lstStyle>
            <a:lvl1pPr marL="0" indent="0">
              <a:lnSpc>
                <a:spcPct val="100000"/>
              </a:lnSpc>
              <a:spcBef>
                <a:spcPts val="0"/>
              </a:spcBef>
              <a:spcAft>
                <a:spcPts val="975"/>
              </a:spcAft>
              <a:buNone/>
              <a:defRPr sz="1600">
                <a:solidFill>
                  <a:schemeClr val="tx1"/>
                </a:solidFill>
                <a:latin typeface="Santander Headline"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itle</a:t>
            </a:r>
          </a:p>
        </p:txBody>
      </p:sp>
      <p:cxnSp>
        <p:nvCxnSpPr>
          <p:cNvPr id="17" name="Conector recto 16">
            <a:extLst>
              <a:ext uri="{FF2B5EF4-FFF2-40B4-BE49-F238E27FC236}">
                <a16:creationId xmlns:a16="http://schemas.microsoft.com/office/drawing/2014/main" id="{6E23DF16-4F86-5346-AA0C-5F70A3BCECD4}"/>
              </a:ext>
            </a:extLst>
          </p:cNvPr>
          <p:cNvCxnSpPr>
            <a:cxnSpLocks/>
          </p:cNvCxnSpPr>
          <p:nvPr userDrawn="1"/>
        </p:nvCxnSpPr>
        <p:spPr>
          <a:xfrm>
            <a:off x="9772397" y="797296"/>
            <a:ext cx="197889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Marcador de texto 5">
            <a:extLst>
              <a:ext uri="{FF2B5EF4-FFF2-40B4-BE49-F238E27FC236}">
                <a16:creationId xmlns:a16="http://schemas.microsoft.com/office/drawing/2014/main" id="{68123552-AD5A-BE44-9D1A-6A59A1ECF624}"/>
              </a:ext>
            </a:extLst>
          </p:cNvPr>
          <p:cNvSpPr>
            <a:spLocks noGrp="1"/>
          </p:cNvSpPr>
          <p:nvPr>
            <p:ph type="body" sz="quarter" idx="50" hasCustomPrompt="1"/>
          </p:nvPr>
        </p:nvSpPr>
        <p:spPr>
          <a:xfrm>
            <a:off x="5390708" y="1727200"/>
            <a:ext cx="1956390" cy="4510088"/>
          </a:xfrm>
          <a:prstGeom prst="rect">
            <a:avLst/>
          </a:prstGeom>
        </p:spPr>
        <p:txBody>
          <a:bodyPr lIns="0" tIns="0" rIns="0" bIns="0"/>
          <a:lstStyle>
            <a:lvl1pPr marL="0" indent="0">
              <a:lnSpc>
                <a:spcPct val="10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0" name="Marcador de texto 5">
            <a:extLst>
              <a:ext uri="{FF2B5EF4-FFF2-40B4-BE49-F238E27FC236}">
                <a16:creationId xmlns:a16="http://schemas.microsoft.com/office/drawing/2014/main" id="{01419B87-68DC-1A4C-A9F9-F4ECC210083A}"/>
              </a:ext>
            </a:extLst>
          </p:cNvPr>
          <p:cNvSpPr>
            <a:spLocks noGrp="1"/>
          </p:cNvSpPr>
          <p:nvPr>
            <p:ph type="body" sz="quarter" idx="51" hasCustomPrompt="1"/>
          </p:nvPr>
        </p:nvSpPr>
        <p:spPr>
          <a:xfrm>
            <a:off x="7581016" y="1727200"/>
            <a:ext cx="1956390" cy="4510088"/>
          </a:xfrm>
          <a:prstGeom prst="rect">
            <a:avLst/>
          </a:prstGeom>
        </p:spPr>
        <p:txBody>
          <a:bodyPr lIns="0" tIns="0" rIns="0" bIns="0"/>
          <a:lstStyle>
            <a:lvl1pPr marL="0" indent="0">
              <a:lnSpc>
                <a:spcPct val="10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1" name="Marcador de texto 5">
            <a:extLst>
              <a:ext uri="{FF2B5EF4-FFF2-40B4-BE49-F238E27FC236}">
                <a16:creationId xmlns:a16="http://schemas.microsoft.com/office/drawing/2014/main" id="{57A669EE-3D1E-6447-ABA4-DD7FF20C1A77}"/>
              </a:ext>
            </a:extLst>
          </p:cNvPr>
          <p:cNvSpPr>
            <a:spLocks noGrp="1"/>
          </p:cNvSpPr>
          <p:nvPr>
            <p:ph type="body" sz="quarter" idx="52" hasCustomPrompt="1"/>
          </p:nvPr>
        </p:nvSpPr>
        <p:spPr>
          <a:xfrm>
            <a:off x="9792579" y="1727200"/>
            <a:ext cx="1956390" cy="4510088"/>
          </a:xfrm>
          <a:prstGeom prst="rect">
            <a:avLst/>
          </a:prstGeom>
        </p:spPr>
        <p:txBody>
          <a:bodyPr lIns="0" tIns="0" rIns="0" bIns="0"/>
          <a:lstStyle>
            <a:lvl1pPr marL="0" indent="0">
              <a:lnSpc>
                <a:spcPct val="10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3" name="Título 1">
            <a:extLst>
              <a:ext uri="{FF2B5EF4-FFF2-40B4-BE49-F238E27FC236}">
                <a16:creationId xmlns:a16="http://schemas.microsoft.com/office/drawing/2014/main" id="{AEF3572F-6DBD-454B-A6F6-E1382E1B214A}"/>
              </a:ext>
            </a:extLst>
          </p:cNvPr>
          <p:cNvSpPr>
            <a:spLocks noGrp="1"/>
          </p:cNvSpPr>
          <p:nvPr>
            <p:ph type="ctrTitle" hasCustomPrompt="1"/>
          </p:nvPr>
        </p:nvSpPr>
        <p:spPr>
          <a:xfrm>
            <a:off x="439259" y="939173"/>
            <a:ext cx="4361342" cy="457516"/>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24" name="Conector recto 23">
            <a:extLst>
              <a:ext uri="{FF2B5EF4-FFF2-40B4-BE49-F238E27FC236}">
                <a16:creationId xmlns:a16="http://schemas.microsoft.com/office/drawing/2014/main" id="{3F6F408C-A266-4E90-99B1-D06BCEE3A177}"/>
              </a:ext>
            </a:extLst>
          </p:cNvPr>
          <p:cNvCxnSpPr>
            <a:cxnSpLocks/>
          </p:cNvCxnSpPr>
          <p:nvPr userDrawn="1"/>
        </p:nvCxnSpPr>
        <p:spPr>
          <a:xfrm>
            <a:off x="462773" y="797296"/>
            <a:ext cx="435227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Marcador de texto 4">
            <a:extLst>
              <a:ext uri="{FF2B5EF4-FFF2-40B4-BE49-F238E27FC236}">
                <a16:creationId xmlns:a16="http://schemas.microsoft.com/office/drawing/2014/main" id="{911B24E5-F7B4-4F7E-A55D-20FABBF7325B}"/>
              </a:ext>
            </a:extLst>
          </p:cNvPr>
          <p:cNvSpPr>
            <a:spLocks noGrp="1"/>
          </p:cNvSpPr>
          <p:nvPr>
            <p:ph type="body" sz="quarter" idx="24" hasCustomPrompt="1"/>
          </p:nvPr>
        </p:nvSpPr>
        <p:spPr>
          <a:xfrm>
            <a:off x="462775" y="2127568"/>
            <a:ext cx="4348641" cy="4014788"/>
          </a:xfrm>
          <a:prstGeom prst="rect">
            <a:avLst/>
          </a:prstGeom>
        </p:spPr>
        <p:txBody>
          <a:bodyPr lIns="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22" name="Marcador de texto 4">
            <a:extLst>
              <a:ext uri="{FF2B5EF4-FFF2-40B4-BE49-F238E27FC236}">
                <a16:creationId xmlns:a16="http://schemas.microsoft.com/office/drawing/2014/main" id="{AE78003B-C508-4826-B806-B6F55E205E18}"/>
              </a:ext>
            </a:extLst>
          </p:cNvPr>
          <p:cNvSpPr>
            <a:spLocks noGrp="1"/>
          </p:cNvSpPr>
          <p:nvPr>
            <p:ph type="body" sz="quarter" idx="47" hasCustomPrompt="1"/>
          </p:nvPr>
        </p:nvSpPr>
        <p:spPr>
          <a:xfrm>
            <a:off x="453729" y="1741488"/>
            <a:ext cx="4357687" cy="294648"/>
          </a:xfrm>
          <a:prstGeom prst="rect">
            <a:avLst/>
          </a:prstGeom>
        </p:spPr>
        <p:txBody>
          <a:bodyPr lIns="0" tIns="0" rIns="0" bIns="0">
            <a:noAutofit/>
          </a:bodyPr>
          <a:lstStyle>
            <a:lvl1pPr marL="0" indent="0">
              <a:lnSpc>
                <a:spcPct val="100000"/>
              </a:lnSpc>
              <a:buNone/>
              <a:defRPr sz="1600" b="0" i="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349053628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Graphic">
    <p:spTree>
      <p:nvGrpSpPr>
        <p:cNvPr id="1" name=""/>
        <p:cNvGrpSpPr/>
        <p:nvPr/>
      </p:nvGrpSpPr>
      <p:grpSpPr>
        <a:xfrm>
          <a:off x="0" y="0"/>
          <a:ext cx="0" cy="0"/>
          <a:chOff x="0" y="0"/>
          <a:chExt cx="0" cy="0"/>
        </a:xfrm>
      </p:grpSpPr>
      <p:sp>
        <p:nvSpPr>
          <p:cNvPr id="30" name="Marcador de texto 4">
            <a:extLst>
              <a:ext uri="{FF2B5EF4-FFF2-40B4-BE49-F238E27FC236}">
                <a16:creationId xmlns:a16="http://schemas.microsoft.com/office/drawing/2014/main" id="{936ADA27-CEDF-41C7-A48F-06DB2227D1FB}"/>
              </a:ext>
            </a:extLst>
          </p:cNvPr>
          <p:cNvSpPr>
            <a:spLocks noGrp="1"/>
          </p:cNvSpPr>
          <p:nvPr>
            <p:ph type="body" sz="quarter" idx="31" hasCustomPrompt="1"/>
          </p:nvPr>
        </p:nvSpPr>
        <p:spPr>
          <a:xfrm>
            <a:off x="442915" y="1718244"/>
            <a:ext cx="11306175"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442915" y="2349500"/>
            <a:ext cx="11306175" cy="38877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21" name="Marcador de texto 4">
            <a:extLst>
              <a:ext uri="{FF2B5EF4-FFF2-40B4-BE49-F238E27FC236}">
                <a16:creationId xmlns:a16="http://schemas.microsoft.com/office/drawing/2014/main" id="{CB524C6F-854C-460E-B06B-DEA5F76FA890}"/>
              </a:ext>
            </a:extLst>
          </p:cNvPr>
          <p:cNvSpPr>
            <a:spLocks noGrp="1"/>
          </p:cNvSpPr>
          <p:nvPr>
            <p:ph type="body" sz="quarter" idx="66" hasCustomPrompt="1"/>
          </p:nvPr>
        </p:nvSpPr>
        <p:spPr>
          <a:xfrm>
            <a:off x="439261" y="1950439"/>
            <a:ext cx="11306175"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7" name="Título 1">
            <a:extLst>
              <a:ext uri="{FF2B5EF4-FFF2-40B4-BE49-F238E27FC236}">
                <a16:creationId xmlns:a16="http://schemas.microsoft.com/office/drawing/2014/main" id="{9D8B7694-2E23-425B-B59B-6E1BDBDF4598}"/>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8" name="Conector recto 7">
            <a:extLst>
              <a:ext uri="{FF2B5EF4-FFF2-40B4-BE49-F238E27FC236}">
                <a16:creationId xmlns:a16="http://schemas.microsoft.com/office/drawing/2014/main" id="{85027861-F774-4395-BD3A-2AABE01A5A00}"/>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2593132"/>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without image lines">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C274D735-F031-C845-839C-9A10048D0899}"/>
              </a:ext>
            </a:extLst>
          </p:cNvPr>
          <p:cNvGrpSpPr/>
          <p:nvPr userDrawn="1"/>
        </p:nvGrpSpPr>
        <p:grpSpPr>
          <a:xfrm>
            <a:off x="-1" y="659219"/>
            <a:ext cx="12192001" cy="5497032"/>
            <a:chOff x="-1" y="659219"/>
            <a:chExt cx="12192001" cy="5497032"/>
          </a:xfrm>
          <a:solidFill>
            <a:schemeClr val="accent1"/>
          </a:solidFill>
        </p:grpSpPr>
        <p:sp>
          <p:nvSpPr>
            <p:cNvPr id="6" name="Rectángulo 5">
              <a:extLst>
                <a:ext uri="{FF2B5EF4-FFF2-40B4-BE49-F238E27FC236}">
                  <a16:creationId xmlns:a16="http://schemas.microsoft.com/office/drawing/2014/main" id="{0E055A1B-3660-8D4E-84DE-9ECFF1C17D2C}"/>
                </a:ext>
              </a:extLst>
            </p:cNvPr>
            <p:cNvSpPr/>
            <p:nvPr userDrawn="1"/>
          </p:nvSpPr>
          <p:spPr>
            <a:xfrm>
              <a:off x="0" y="659219"/>
              <a:ext cx="12192000" cy="4625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21" name="Rectángulo 20">
              <a:extLst>
                <a:ext uri="{FF2B5EF4-FFF2-40B4-BE49-F238E27FC236}">
                  <a16:creationId xmlns:a16="http://schemas.microsoft.com/office/drawing/2014/main" id="{FCFA1743-B97A-8445-9210-427788653070}"/>
                </a:ext>
              </a:extLst>
            </p:cNvPr>
            <p:cNvSpPr/>
            <p:nvPr userDrawn="1"/>
          </p:nvSpPr>
          <p:spPr>
            <a:xfrm>
              <a:off x="-1" y="1531089"/>
              <a:ext cx="6131441" cy="4625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grpSp>
        <p:nvGrpSpPr>
          <p:cNvPr id="3" name="Grupo 2">
            <a:extLst>
              <a:ext uri="{FF2B5EF4-FFF2-40B4-BE49-F238E27FC236}">
                <a16:creationId xmlns:a16="http://schemas.microsoft.com/office/drawing/2014/main" id="{A692D9AB-55D2-4FEF-AB87-63A37F188514}"/>
              </a:ext>
            </a:extLst>
          </p:cNvPr>
          <p:cNvGrpSpPr/>
          <p:nvPr userDrawn="1"/>
        </p:nvGrpSpPr>
        <p:grpSpPr>
          <a:xfrm>
            <a:off x="0" y="5283200"/>
            <a:ext cx="12192000" cy="1574800"/>
            <a:chOff x="0" y="5283200"/>
            <a:chExt cx="12192000" cy="1574800"/>
          </a:xfrm>
          <a:solidFill>
            <a:srgbClr val="F6F6F6"/>
          </a:solidFill>
        </p:grpSpPr>
        <p:sp>
          <p:nvSpPr>
            <p:cNvPr id="2" name="Rectángulo 1">
              <a:extLst>
                <a:ext uri="{FF2B5EF4-FFF2-40B4-BE49-F238E27FC236}">
                  <a16:creationId xmlns:a16="http://schemas.microsoft.com/office/drawing/2014/main" id="{29F681FB-F583-4820-AD17-9E9C1BDD22F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1" name="Rectángulo 10">
              <a:extLst>
                <a:ext uri="{FF2B5EF4-FFF2-40B4-BE49-F238E27FC236}">
                  <a16:creationId xmlns:a16="http://schemas.microsoft.com/office/drawing/2014/main" id="{526BA127-0739-4BAE-A142-EF04EACFC741}"/>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8" name="Conector recto 7">
            <a:extLst>
              <a:ext uri="{FF2B5EF4-FFF2-40B4-BE49-F238E27FC236}">
                <a16:creationId xmlns:a16="http://schemas.microsoft.com/office/drawing/2014/main" id="{2463B206-FC62-44A4-B652-071439897935}"/>
              </a:ext>
            </a:extLst>
          </p:cNvPr>
          <p:cNvCxnSpPr>
            <a:cxnSpLocks/>
          </p:cNvCxnSpPr>
          <p:nvPr userDrawn="1"/>
        </p:nvCxnSpPr>
        <p:spPr>
          <a:xfrm>
            <a:off x="2115054" y="35309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F57F08B7-24E5-4507-BECC-92162E75EA62}"/>
              </a:ext>
            </a:extLst>
          </p:cNvPr>
          <p:cNvCxnSpPr>
            <a:cxnSpLocks/>
          </p:cNvCxnSpPr>
          <p:nvPr userDrawn="1"/>
        </p:nvCxnSpPr>
        <p:spPr>
          <a:xfrm>
            <a:off x="6147198" y="30797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ítulo 1">
            <a:extLst>
              <a:ext uri="{FF2B5EF4-FFF2-40B4-BE49-F238E27FC236}">
                <a16:creationId xmlns:a16="http://schemas.microsoft.com/office/drawing/2014/main" id="{42B533C6-BE4E-480D-9817-DDFD46B0EDFC}"/>
              </a:ext>
            </a:extLst>
          </p:cNvPr>
          <p:cNvSpPr>
            <a:spLocks noGrp="1"/>
          </p:cNvSpPr>
          <p:nvPr>
            <p:ph type="ctrTitle" hasCustomPrompt="1"/>
          </p:nvPr>
        </p:nvSpPr>
        <p:spPr>
          <a:xfrm>
            <a:off x="2115054" y="29267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out</a:t>
            </a:r>
            <a:r>
              <a:rPr lang="es-ES" dirty="0"/>
              <a:t> </a:t>
            </a:r>
            <a:r>
              <a:rPr lang="es-ES" dirty="0" err="1"/>
              <a:t>image</a:t>
            </a:r>
            <a:endParaRPr lang="es-ES" dirty="0"/>
          </a:p>
        </p:txBody>
      </p:sp>
      <p:sp>
        <p:nvSpPr>
          <p:cNvPr id="12" name="Marcador de texto 4">
            <a:extLst>
              <a:ext uri="{FF2B5EF4-FFF2-40B4-BE49-F238E27FC236}">
                <a16:creationId xmlns:a16="http://schemas.microsoft.com/office/drawing/2014/main" id="{059B38A0-6D1E-4B68-9B1F-A751104EBB36}"/>
              </a:ext>
            </a:extLst>
          </p:cNvPr>
          <p:cNvSpPr>
            <a:spLocks noGrp="1"/>
          </p:cNvSpPr>
          <p:nvPr>
            <p:ph type="body" sz="quarter" idx="47" hasCustomPrompt="1"/>
          </p:nvPr>
        </p:nvSpPr>
        <p:spPr>
          <a:xfrm>
            <a:off x="6295899" y="23588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3644931886"/>
      </p:ext>
    </p:extLst>
  </p:cSld>
  <p:clrMapOvr>
    <a:masterClrMapping/>
  </p:clrMapOvr>
  <p:extLst>
    <p:ext uri="{DCECCB84-F9BA-43D5-87BE-67443E8EF086}">
      <p15:sldGuideLst xmlns:p15="http://schemas.microsoft.com/office/powerpoint/2012/main">
        <p15:guide id="1" pos="279" userDrawn="1">
          <p15:clr>
            <a:srgbClr val="FBAE40"/>
          </p15:clr>
        </p15:guide>
        <p15:guide id="2" pos="386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442916" y="2451100"/>
            <a:ext cx="5259386"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9" name="Marcador de gráfico 3">
            <a:extLst>
              <a:ext uri="{FF2B5EF4-FFF2-40B4-BE49-F238E27FC236}">
                <a16:creationId xmlns:a16="http://schemas.microsoft.com/office/drawing/2014/main" id="{F883A945-8B98-4C8F-858C-D5C32AED72DC}"/>
              </a:ext>
            </a:extLst>
          </p:cNvPr>
          <p:cNvSpPr>
            <a:spLocks noGrp="1"/>
          </p:cNvSpPr>
          <p:nvPr>
            <p:ph type="chart" sz="quarter" idx="67" hasCustomPrompt="1"/>
          </p:nvPr>
        </p:nvSpPr>
        <p:spPr>
          <a:xfrm>
            <a:off x="6494142" y="2451100"/>
            <a:ext cx="5259386"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Marcador de texto 4">
            <a:extLst>
              <a:ext uri="{FF2B5EF4-FFF2-40B4-BE49-F238E27FC236}">
                <a16:creationId xmlns:a16="http://schemas.microsoft.com/office/drawing/2014/main" id="{91A5C95F-C931-41D7-B684-67E170CFB625}"/>
              </a:ext>
            </a:extLst>
          </p:cNvPr>
          <p:cNvSpPr>
            <a:spLocks noGrp="1"/>
          </p:cNvSpPr>
          <p:nvPr>
            <p:ph type="body" sz="quarter" idx="31" hasCustomPrompt="1"/>
          </p:nvPr>
        </p:nvSpPr>
        <p:spPr>
          <a:xfrm>
            <a:off x="442913"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5" name="Marcador de texto 4">
            <a:extLst>
              <a:ext uri="{FF2B5EF4-FFF2-40B4-BE49-F238E27FC236}">
                <a16:creationId xmlns:a16="http://schemas.microsoft.com/office/drawing/2014/main" id="{D54BF0D6-C959-4A80-81E5-2F5FB320AE6F}"/>
              </a:ext>
            </a:extLst>
          </p:cNvPr>
          <p:cNvSpPr>
            <a:spLocks noGrp="1"/>
          </p:cNvSpPr>
          <p:nvPr>
            <p:ph type="body" sz="quarter" idx="66" hasCustomPrompt="1"/>
          </p:nvPr>
        </p:nvSpPr>
        <p:spPr>
          <a:xfrm>
            <a:off x="439259"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16" name="Marcador de texto 4">
            <a:extLst>
              <a:ext uri="{FF2B5EF4-FFF2-40B4-BE49-F238E27FC236}">
                <a16:creationId xmlns:a16="http://schemas.microsoft.com/office/drawing/2014/main" id="{70E2C192-9C51-40EA-BA3C-9FEF2008A715}"/>
              </a:ext>
            </a:extLst>
          </p:cNvPr>
          <p:cNvSpPr>
            <a:spLocks noGrp="1"/>
          </p:cNvSpPr>
          <p:nvPr>
            <p:ph type="body" sz="quarter" idx="68" hasCustomPrompt="1"/>
          </p:nvPr>
        </p:nvSpPr>
        <p:spPr>
          <a:xfrm>
            <a:off x="6493195"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7" name="Marcador de texto 4">
            <a:extLst>
              <a:ext uri="{FF2B5EF4-FFF2-40B4-BE49-F238E27FC236}">
                <a16:creationId xmlns:a16="http://schemas.microsoft.com/office/drawing/2014/main" id="{3E18A105-92ED-4D3F-9172-E546994C2FBE}"/>
              </a:ext>
            </a:extLst>
          </p:cNvPr>
          <p:cNvSpPr>
            <a:spLocks noGrp="1"/>
          </p:cNvSpPr>
          <p:nvPr>
            <p:ph type="body" sz="quarter" idx="69" hasCustomPrompt="1"/>
          </p:nvPr>
        </p:nvSpPr>
        <p:spPr>
          <a:xfrm>
            <a:off x="6489541"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080342750"/>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harts">
    <p:spTree>
      <p:nvGrpSpPr>
        <p:cNvPr id="1" name=""/>
        <p:cNvGrpSpPr/>
        <p:nvPr/>
      </p:nvGrpSpPr>
      <p:grpSpPr>
        <a:xfrm>
          <a:off x="0" y="0"/>
          <a:ext cx="0" cy="0"/>
          <a:chOff x="0" y="0"/>
          <a:chExt cx="0" cy="0"/>
        </a:xfrm>
      </p:grpSpPr>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442916" y="2451100"/>
            <a:ext cx="3609257"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r>
              <a:rPr lang="es-ES" dirty="0"/>
              <a:t>Graphic</a:t>
            </a:r>
          </a:p>
        </p:txBody>
      </p:sp>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Marcador de texto 4">
            <a:extLst>
              <a:ext uri="{FF2B5EF4-FFF2-40B4-BE49-F238E27FC236}">
                <a16:creationId xmlns:a16="http://schemas.microsoft.com/office/drawing/2014/main" id="{91A5C95F-C931-41D7-B684-67E170CFB625}"/>
              </a:ext>
            </a:extLst>
          </p:cNvPr>
          <p:cNvSpPr>
            <a:spLocks noGrp="1"/>
          </p:cNvSpPr>
          <p:nvPr>
            <p:ph type="body" sz="quarter" idx="31" hasCustomPrompt="1"/>
          </p:nvPr>
        </p:nvSpPr>
        <p:spPr>
          <a:xfrm>
            <a:off x="44291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5" name="Marcador de texto 4">
            <a:extLst>
              <a:ext uri="{FF2B5EF4-FFF2-40B4-BE49-F238E27FC236}">
                <a16:creationId xmlns:a16="http://schemas.microsoft.com/office/drawing/2014/main" id="{D54BF0D6-C959-4A80-81E5-2F5FB320AE6F}"/>
              </a:ext>
            </a:extLst>
          </p:cNvPr>
          <p:cNvSpPr>
            <a:spLocks noGrp="1"/>
          </p:cNvSpPr>
          <p:nvPr>
            <p:ph type="body" sz="quarter" idx="66" hasCustomPrompt="1"/>
          </p:nvPr>
        </p:nvSpPr>
        <p:spPr>
          <a:xfrm>
            <a:off x="43926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4" name="Marcador de gráfico 3">
            <a:extLst>
              <a:ext uri="{FF2B5EF4-FFF2-40B4-BE49-F238E27FC236}">
                <a16:creationId xmlns:a16="http://schemas.microsoft.com/office/drawing/2014/main" id="{FFDE05C2-EC9B-41FE-A4E0-FD8CA733210B}"/>
              </a:ext>
            </a:extLst>
          </p:cNvPr>
          <p:cNvSpPr>
            <a:spLocks noGrp="1"/>
          </p:cNvSpPr>
          <p:nvPr>
            <p:ph type="chart" sz="quarter" idx="67" hasCustomPrompt="1"/>
          </p:nvPr>
        </p:nvSpPr>
        <p:spPr>
          <a:xfrm>
            <a:off x="4297801" y="2451100"/>
            <a:ext cx="3609257"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5" name="Marcador de texto 4">
            <a:extLst>
              <a:ext uri="{FF2B5EF4-FFF2-40B4-BE49-F238E27FC236}">
                <a16:creationId xmlns:a16="http://schemas.microsoft.com/office/drawing/2014/main" id="{61011E59-E135-4A46-B920-4EEAB72ECC62}"/>
              </a:ext>
            </a:extLst>
          </p:cNvPr>
          <p:cNvSpPr>
            <a:spLocks noGrp="1"/>
          </p:cNvSpPr>
          <p:nvPr>
            <p:ph type="body" sz="quarter" idx="68" hasCustomPrompt="1"/>
          </p:nvPr>
        </p:nvSpPr>
        <p:spPr>
          <a:xfrm>
            <a:off x="4297801"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6" name="Marcador de texto 4">
            <a:extLst>
              <a:ext uri="{FF2B5EF4-FFF2-40B4-BE49-F238E27FC236}">
                <a16:creationId xmlns:a16="http://schemas.microsoft.com/office/drawing/2014/main" id="{1986B9A0-C3FE-4058-9F5B-03EF81CE9C13}"/>
              </a:ext>
            </a:extLst>
          </p:cNvPr>
          <p:cNvSpPr>
            <a:spLocks noGrp="1"/>
          </p:cNvSpPr>
          <p:nvPr>
            <p:ph type="body" sz="quarter" idx="69" hasCustomPrompt="1"/>
          </p:nvPr>
        </p:nvSpPr>
        <p:spPr>
          <a:xfrm>
            <a:off x="4294147"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7" name="Marcador de gráfico 3">
            <a:extLst>
              <a:ext uri="{FF2B5EF4-FFF2-40B4-BE49-F238E27FC236}">
                <a16:creationId xmlns:a16="http://schemas.microsoft.com/office/drawing/2014/main" id="{5520C83F-30B6-4BCC-AB1D-1F75B0265E0E}"/>
              </a:ext>
            </a:extLst>
          </p:cNvPr>
          <p:cNvSpPr>
            <a:spLocks noGrp="1"/>
          </p:cNvSpPr>
          <p:nvPr>
            <p:ph type="chart" sz="quarter" idx="70" hasCustomPrompt="1"/>
          </p:nvPr>
        </p:nvSpPr>
        <p:spPr>
          <a:xfrm>
            <a:off x="8152686" y="2451100"/>
            <a:ext cx="3609257" cy="3786184"/>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8" name="Marcador de texto 4">
            <a:extLst>
              <a:ext uri="{FF2B5EF4-FFF2-40B4-BE49-F238E27FC236}">
                <a16:creationId xmlns:a16="http://schemas.microsoft.com/office/drawing/2014/main" id="{5DE466A1-7019-45C8-8C50-A9A774E7D09B}"/>
              </a:ext>
            </a:extLst>
          </p:cNvPr>
          <p:cNvSpPr>
            <a:spLocks noGrp="1"/>
          </p:cNvSpPr>
          <p:nvPr>
            <p:ph type="body" sz="quarter" idx="71" hasCustomPrompt="1"/>
          </p:nvPr>
        </p:nvSpPr>
        <p:spPr>
          <a:xfrm>
            <a:off x="815268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9" name="Marcador de texto 4">
            <a:extLst>
              <a:ext uri="{FF2B5EF4-FFF2-40B4-BE49-F238E27FC236}">
                <a16:creationId xmlns:a16="http://schemas.microsoft.com/office/drawing/2014/main" id="{B6ADAB0D-5732-4B9A-B577-C10E8BAD8A69}"/>
              </a:ext>
            </a:extLst>
          </p:cNvPr>
          <p:cNvSpPr>
            <a:spLocks noGrp="1"/>
          </p:cNvSpPr>
          <p:nvPr>
            <p:ph type="body" sz="quarter" idx="72" hasCustomPrompt="1"/>
          </p:nvPr>
        </p:nvSpPr>
        <p:spPr>
          <a:xfrm>
            <a:off x="814903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220213504"/>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harts _2">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Marcador de gráfico 3">
            <a:extLst>
              <a:ext uri="{FF2B5EF4-FFF2-40B4-BE49-F238E27FC236}">
                <a16:creationId xmlns:a16="http://schemas.microsoft.com/office/drawing/2014/main" id="{A3C6F170-C4B2-4C33-B6E2-AFF0997A785E}"/>
              </a:ext>
            </a:extLst>
          </p:cNvPr>
          <p:cNvSpPr>
            <a:spLocks noGrp="1"/>
          </p:cNvSpPr>
          <p:nvPr>
            <p:ph type="chart" sz="quarter" idx="65" hasCustomPrompt="1"/>
          </p:nvPr>
        </p:nvSpPr>
        <p:spPr>
          <a:xfrm>
            <a:off x="44291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18" name="Marcador de texto 4">
            <a:extLst>
              <a:ext uri="{FF2B5EF4-FFF2-40B4-BE49-F238E27FC236}">
                <a16:creationId xmlns:a16="http://schemas.microsoft.com/office/drawing/2014/main" id="{46D3E3D1-894D-4B9F-AB65-2B96CBA30B52}"/>
              </a:ext>
            </a:extLst>
          </p:cNvPr>
          <p:cNvSpPr>
            <a:spLocks noGrp="1"/>
          </p:cNvSpPr>
          <p:nvPr>
            <p:ph type="body" sz="quarter" idx="31" hasCustomPrompt="1"/>
          </p:nvPr>
        </p:nvSpPr>
        <p:spPr>
          <a:xfrm>
            <a:off x="442913"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9" name="Marcador de texto 4">
            <a:extLst>
              <a:ext uri="{FF2B5EF4-FFF2-40B4-BE49-F238E27FC236}">
                <a16:creationId xmlns:a16="http://schemas.microsoft.com/office/drawing/2014/main" id="{F719246B-170B-42F1-88B2-179571732171}"/>
              </a:ext>
            </a:extLst>
          </p:cNvPr>
          <p:cNvSpPr>
            <a:spLocks noGrp="1"/>
          </p:cNvSpPr>
          <p:nvPr>
            <p:ph type="body" sz="quarter" idx="66" hasCustomPrompt="1"/>
          </p:nvPr>
        </p:nvSpPr>
        <p:spPr>
          <a:xfrm>
            <a:off x="439259"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1" name="Marcador de texto 4">
            <a:extLst>
              <a:ext uri="{FF2B5EF4-FFF2-40B4-BE49-F238E27FC236}">
                <a16:creationId xmlns:a16="http://schemas.microsoft.com/office/drawing/2014/main" id="{6F7CACFD-F146-4B47-A48B-A39BC28D2020}"/>
              </a:ext>
            </a:extLst>
          </p:cNvPr>
          <p:cNvSpPr>
            <a:spLocks noGrp="1"/>
          </p:cNvSpPr>
          <p:nvPr>
            <p:ph type="body" sz="quarter" idx="68" hasCustomPrompt="1"/>
          </p:nvPr>
        </p:nvSpPr>
        <p:spPr>
          <a:xfrm>
            <a:off x="6493195"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2" name="Marcador de texto 4">
            <a:extLst>
              <a:ext uri="{FF2B5EF4-FFF2-40B4-BE49-F238E27FC236}">
                <a16:creationId xmlns:a16="http://schemas.microsoft.com/office/drawing/2014/main" id="{13BEE8BC-0AE4-4BD0-A17D-39192BB483CC}"/>
              </a:ext>
            </a:extLst>
          </p:cNvPr>
          <p:cNvSpPr>
            <a:spLocks noGrp="1"/>
          </p:cNvSpPr>
          <p:nvPr>
            <p:ph type="body" sz="quarter" idx="69" hasCustomPrompt="1"/>
          </p:nvPr>
        </p:nvSpPr>
        <p:spPr>
          <a:xfrm>
            <a:off x="6489541"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3" name="Marcador de gráfico 3">
            <a:extLst>
              <a:ext uri="{FF2B5EF4-FFF2-40B4-BE49-F238E27FC236}">
                <a16:creationId xmlns:a16="http://schemas.microsoft.com/office/drawing/2014/main" id="{64F8FF50-291A-49EE-B380-42440B418EB4}"/>
              </a:ext>
            </a:extLst>
          </p:cNvPr>
          <p:cNvSpPr>
            <a:spLocks noGrp="1"/>
          </p:cNvSpPr>
          <p:nvPr>
            <p:ph type="chart" sz="quarter" idx="70" hasCustomPrompt="1"/>
          </p:nvPr>
        </p:nvSpPr>
        <p:spPr>
          <a:xfrm>
            <a:off x="649298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0" name="Marcador de gráfico 3">
            <a:extLst>
              <a:ext uri="{FF2B5EF4-FFF2-40B4-BE49-F238E27FC236}">
                <a16:creationId xmlns:a16="http://schemas.microsoft.com/office/drawing/2014/main" id="{74D79743-258A-4D18-A2F1-8E6B195CFAA5}"/>
              </a:ext>
            </a:extLst>
          </p:cNvPr>
          <p:cNvSpPr>
            <a:spLocks noGrp="1"/>
          </p:cNvSpPr>
          <p:nvPr>
            <p:ph type="chart" sz="quarter" idx="71" hasCustomPrompt="1"/>
          </p:nvPr>
        </p:nvSpPr>
        <p:spPr>
          <a:xfrm>
            <a:off x="442912" y="4466806"/>
            <a:ext cx="11309457" cy="1783685"/>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1" name="Marcador de texto 4">
            <a:extLst>
              <a:ext uri="{FF2B5EF4-FFF2-40B4-BE49-F238E27FC236}">
                <a16:creationId xmlns:a16="http://schemas.microsoft.com/office/drawing/2014/main" id="{0050668F-5439-4FD3-85DE-DF4D2D20DBA9}"/>
              </a:ext>
            </a:extLst>
          </p:cNvPr>
          <p:cNvSpPr>
            <a:spLocks noGrp="1"/>
          </p:cNvSpPr>
          <p:nvPr>
            <p:ph type="body" sz="quarter" idx="72" hasCustomPrompt="1"/>
          </p:nvPr>
        </p:nvSpPr>
        <p:spPr>
          <a:xfrm>
            <a:off x="442913" y="4002422"/>
            <a:ext cx="11299916"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2" name="Marcador de texto 4">
            <a:extLst>
              <a:ext uri="{FF2B5EF4-FFF2-40B4-BE49-F238E27FC236}">
                <a16:creationId xmlns:a16="http://schemas.microsoft.com/office/drawing/2014/main" id="{A277DEB0-4EBC-4710-9FCA-3B255F862842}"/>
              </a:ext>
            </a:extLst>
          </p:cNvPr>
          <p:cNvSpPr>
            <a:spLocks noGrp="1"/>
          </p:cNvSpPr>
          <p:nvPr>
            <p:ph type="body" sz="quarter" idx="73" hasCustomPrompt="1"/>
          </p:nvPr>
        </p:nvSpPr>
        <p:spPr>
          <a:xfrm>
            <a:off x="439259" y="4234617"/>
            <a:ext cx="11299916"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3316124080"/>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harts">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Marcador de gráfico 3">
            <a:extLst>
              <a:ext uri="{FF2B5EF4-FFF2-40B4-BE49-F238E27FC236}">
                <a16:creationId xmlns:a16="http://schemas.microsoft.com/office/drawing/2014/main" id="{A3C6F170-C4B2-4C33-B6E2-AFF0997A785E}"/>
              </a:ext>
            </a:extLst>
          </p:cNvPr>
          <p:cNvSpPr>
            <a:spLocks noGrp="1"/>
          </p:cNvSpPr>
          <p:nvPr>
            <p:ph type="chart" sz="quarter" idx="65" hasCustomPrompt="1"/>
          </p:nvPr>
        </p:nvSpPr>
        <p:spPr>
          <a:xfrm>
            <a:off x="44291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18" name="Marcador de texto 4">
            <a:extLst>
              <a:ext uri="{FF2B5EF4-FFF2-40B4-BE49-F238E27FC236}">
                <a16:creationId xmlns:a16="http://schemas.microsoft.com/office/drawing/2014/main" id="{46D3E3D1-894D-4B9F-AB65-2B96CBA30B52}"/>
              </a:ext>
            </a:extLst>
          </p:cNvPr>
          <p:cNvSpPr>
            <a:spLocks noGrp="1"/>
          </p:cNvSpPr>
          <p:nvPr>
            <p:ph type="body" sz="quarter" idx="31" hasCustomPrompt="1"/>
          </p:nvPr>
        </p:nvSpPr>
        <p:spPr>
          <a:xfrm>
            <a:off x="442913"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19" name="Marcador de texto 4">
            <a:extLst>
              <a:ext uri="{FF2B5EF4-FFF2-40B4-BE49-F238E27FC236}">
                <a16:creationId xmlns:a16="http://schemas.microsoft.com/office/drawing/2014/main" id="{F719246B-170B-42F1-88B2-179571732171}"/>
              </a:ext>
            </a:extLst>
          </p:cNvPr>
          <p:cNvSpPr>
            <a:spLocks noGrp="1"/>
          </p:cNvSpPr>
          <p:nvPr>
            <p:ph type="body" sz="quarter" idx="66" hasCustomPrompt="1"/>
          </p:nvPr>
        </p:nvSpPr>
        <p:spPr>
          <a:xfrm>
            <a:off x="439259"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1" name="Marcador de texto 4">
            <a:extLst>
              <a:ext uri="{FF2B5EF4-FFF2-40B4-BE49-F238E27FC236}">
                <a16:creationId xmlns:a16="http://schemas.microsoft.com/office/drawing/2014/main" id="{6F7CACFD-F146-4B47-A48B-A39BC28D2020}"/>
              </a:ext>
            </a:extLst>
          </p:cNvPr>
          <p:cNvSpPr>
            <a:spLocks noGrp="1"/>
          </p:cNvSpPr>
          <p:nvPr>
            <p:ph type="body" sz="quarter" idx="68" hasCustomPrompt="1"/>
          </p:nvPr>
        </p:nvSpPr>
        <p:spPr>
          <a:xfrm>
            <a:off x="6493195" y="1718244"/>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2" name="Marcador de texto 4">
            <a:extLst>
              <a:ext uri="{FF2B5EF4-FFF2-40B4-BE49-F238E27FC236}">
                <a16:creationId xmlns:a16="http://schemas.microsoft.com/office/drawing/2014/main" id="{13BEE8BC-0AE4-4BD0-A17D-39192BB483CC}"/>
              </a:ext>
            </a:extLst>
          </p:cNvPr>
          <p:cNvSpPr>
            <a:spLocks noGrp="1"/>
          </p:cNvSpPr>
          <p:nvPr>
            <p:ph type="body" sz="quarter" idx="69" hasCustomPrompt="1"/>
          </p:nvPr>
        </p:nvSpPr>
        <p:spPr>
          <a:xfrm>
            <a:off x="6489541" y="1950439"/>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3" name="Marcador de gráfico 3">
            <a:extLst>
              <a:ext uri="{FF2B5EF4-FFF2-40B4-BE49-F238E27FC236}">
                <a16:creationId xmlns:a16="http://schemas.microsoft.com/office/drawing/2014/main" id="{64F8FF50-291A-49EE-B380-42440B418EB4}"/>
              </a:ext>
            </a:extLst>
          </p:cNvPr>
          <p:cNvSpPr>
            <a:spLocks noGrp="1"/>
          </p:cNvSpPr>
          <p:nvPr>
            <p:ph type="chart" sz="quarter" idx="70" hasCustomPrompt="1"/>
          </p:nvPr>
        </p:nvSpPr>
        <p:spPr>
          <a:xfrm>
            <a:off x="6492985" y="2244420"/>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0" name="Marcador de gráfico 3">
            <a:extLst>
              <a:ext uri="{FF2B5EF4-FFF2-40B4-BE49-F238E27FC236}">
                <a16:creationId xmlns:a16="http://schemas.microsoft.com/office/drawing/2014/main" id="{74D79743-258A-4D18-A2F1-8E6B195CFAA5}"/>
              </a:ext>
            </a:extLst>
          </p:cNvPr>
          <p:cNvSpPr>
            <a:spLocks noGrp="1"/>
          </p:cNvSpPr>
          <p:nvPr>
            <p:ph type="chart" sz="quarter" idx="71" hasCustomPrompt="1"/>
          </p:nvPr>
        </p:nvSpPr>
        <p:spPr>
          <a:xfrm>
            <a:off x="44291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1" name="Marcador de texto 4">
            <a:extLst>
              <a:ext uri="{FF2B5EF4-FFF2-40B4-BE49-F238E27FC236}">
                <a16:creationId xmlns:a16="http://schemas.microsoft.com/office/drawing/2014/main" id="{0050668F-5439-4FD3-85DE-DF4D2D20DBA9}"/>
              </a:ext>
            </a:extLst>
          </p:cNvPr>
          <p:cNvSpPr>
            <a:spLocks noGrp="1"/>
          </p:cNvSpPr>
          <p:nvPr>
            <p:ph type="body" sz="quarter" idx="72" hasCustomPrompt="1"/>
          </p:nvPr>
        </p:nvSpPr>
        <p:spPr>
          <a:xfrm>
            <a:off x="442913"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2" name="Marcador de texto 4">
            <a:extLst>
              <a:ext uri="{FF2B5EF4-FFF2-40B4-BE49-F238E27FC236}">
                <a16:creationId xmlns:a16="http://schemas.microsoft.com/office/drawing/2014/main" id="{A277DEB0-4EBC-4710-9FCA-3B255F862842}"/>
              </a:ext>
            </a:extLst>
          </p:cNvPr>
          <p:cNvSpPr>
            <a:spLocks noGrp="1"/>
          </p:cNvSpPr>
          <p:nvPr>
            <p:ph type="body" sz="quarter" idx="73" hasCustomPrompt="1"/>
          </p:nvPr>
        </p:nvSpPr>
        <p:spPr>
          <a:xfrm>
            <a:off x="439259"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3" name="Marcador de texto 4">
            <a:extLst>
              <a:ext uri="{FF2B5EF4-FFF2-40B4-BE49-F238E27FC236}">
                <a16:creationId xmlns:a16="http://schemas.microsoft.com/office/drawing/2014/main" id="{B075E24F-C158-407F-B786-101AC02188CD}"/>
              </a:ext>
            </a:extLst>
          </p:cNvPr>
          <p:cNvSpPr>
            <a:spLocks noGrp="1"/>
          </p:cNvSpPr>
          <p:nvPr>
            <p:ph type="body" sz="quarter" idx="74" hasCustomPrompt="1"/>
          </p:nvPr>
        </p:nvSpPr>
        <p:spPr>
          <a:xfrm>
            <a:off x="6493195"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4" name="Marcador de texto 4">
            <a:extLst>
              <a:ext uri="{FF2B5EF4-FFF2-40B4-BE49-F238E27FC236}">
                <a16:creationId xmlns:a16="http://schemas.microsoft.com/office/drawing/2014/main" id="{78210758-C83A-474B-AC73-6756E4891C7F}"/>
              </a:ext>
            </a:extLst>
          </p:cNvPr>
          <p:cNvSpPr>
            <a:spLocks noGrp="1"/>
          </p:cNvSpPr>
          <p:nvPr>
            <p:ph type="body" sz="quarter" idx="75" hasCustomPrompt="1"/>
          </p:nvPr>
        </p:nvSpPr>
        <p:spPr>
          <a:xfrm>
            <a:off x="6489541"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5" name="Marcador de gráfico 3">
            <a:extLst>
              <a:ext uri="{FF2B5EF4-FFF2-40B4-BE49-F238E27FC236}">
                <a16:creationId xmlns:a16="http://schemas.microsoft.com/office/drawing/2014/main" id="{CCB1F036-D17F-48BE-BE7D-D365A2356556}"/>
              </a:ext>
            </a:extLst>
          </p:cNvPr>
          <p:cNvSpPr>
            <a:spLocks noGrp="1"/>
          </p:cNvSpPr>
          <p:nvPr>
            <p:ph type="chart" sz="quarter" idx="76" hasCustomPrompt="1"/>
          </p:nvPr>
        </p:nvSpPr>
        <p:spPr>
          <a:xfrm>
            <a:off x="649298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Tree>
    <p:extLst>
      <p:ext uri="{BB962C8B-B14F-4D97-AF65-F5344CB8AC3E}">
        <p14:creationId xmlns:p14="http://schemas.microsoft.com/office/powerpoint/2010/main" val="3558574211"/>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 Charts">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Marcador de gráfico 3">
            <a:extLst>
              <a:ext uri="{FF2B5EF4-FFF2-40B4-BE49-F238E27FC236}">
                <a16:creationId xmlns:a16="http://schemas.microsoft.com/office/drawing/2014/main" id="{74D79743-258A-4D18-A2F1-8E6B195CFAA5}"/>
              </a:ext>
            </a:extLst>
          </p:cNvPr>
          <p:cNvSpPr>
            <a:spLocks noGrp="1"/>
          </p:cNvSpPr>
          <p:nvPr>
            <p:ph type="chart" sz="quarter" idx="71" hasCustomPrompt="1"/>
          </p:nvPr>
        </p:nvSpPr>
        <p:spPr>
          <a:xfrm>
            <a:off x="44291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31" name="Marcador de texto 4">
            <a:extLst>
              <a:ext uri="{FF2B5EF4-FFF2-40B4-BE49-F238E27FC236}">
                <a16:creationId xmlns:a16="http://schemas.microsoft.com/office/drawing/2014/main" id="{0050668F-5439-4FD3-85DE-DF4D2D20DBA9}"/>
              </a:ext>
            </a:extLst>
          </p:cNvPr>
          <p:cNvSpPr>
            <a:spLocks noGrp="1"/>
          </p:cNvSpPr>
          <p:nvPr>
            <p:ph type="body" sz="quarter" idx="72" hasCustomPrompt="1"/>
          </p:nvPr>
        </p:nvSpPr>
        <p:spPr>
          <a:xfrm>
            <a:off x="442913"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2" name="Marcador de texto 4">
            <a:extLst>
              <a:ext uri="{FF2B5EF4-FFF2-40B4-BE49-F238E27FC236}">
                <a16:creationId xmlns:a16="http://schemas.microsoft.com/office/drawing/2014/main" id="{A277DEB0-4EBC-4710-9FCA-3B255F862842}"/>
              </a:ext>
            </a:extLst>
          </p:cNvPr>
          <p:cNvSpPr>
            <a:spLocks noGrp="1"/>
          </p:cNvSpPr>
          <p:nvPr>
            <p:ph type="body" sz="quarter" idx="73" hasCustomPrompt="1"/>
          </p:nvPr>
        </p:nvSpPr>
        <p:spPr>
          <a:xfrm>
            <a:off x="439259"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3" name="Marcador de texto 4">
            <a:extLst>
              <a:ext uri="{FF2B5EF4-FFF2-40B4-BE49-F238E27FC236}">
                <a16:creationId xmlns:a16="http://schemas.microsoft.com/office/drawing/2014/main" id="{B075E24F-C158-407F-B786-101AC02188CD}"/>
              </a:ext>
            </a:extLst>
          </p:cNvPr>
          <p:cNvSpPr>
            <a:spLocks noGrp="1"/>
          </p:cNvSpPr>
          <p:nvPr>
            <p:ph type="body" sz="quarter" idx="74" hasCustomPrompt="1"/>
          </p:nvPr>
        </p:nvSpPr>
        <p:spPr>
          <a:xfrm>
            <a:off x="6493195" y="4173346"/>
            <a:ext cx="5254949"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4" name="Marcador de texto 4">
            <a:extLst>
              <a:ext uri="{FF2B5EF4-FFF2-40B4-BE49-F238E27FC236}">
                <a16:creationId xmlns:a16="http://schemas.microsoft.com/office/drawing/2014/main" id="{78210758-C83A-474B-AC73-6756E4891C7F}"/>
              </a:ext>
            </a:extLst>
          </p:cNvPr>
          <p:cNvSpPr>
            <a:spLocks noGrp="1"/>
          </p:cNvSpPr>
          <p:nvPr>
            <p:ph type="body" sz="quarter" idx="75" hasCustomPrompt="1"/>
          </p:nvPr>
        </p:nvSpPr>
        <p:spPr>
          <a:xfrm>
            <a:off x="6489541" y="4405541"/>
            <a:ext cx="5254949"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35" name="Marcador de gráfico 3">
            <a:extLst>
              <a:ext uri="{FF2B5EF4-FFF2-40B4-BE49-F238E27FC236}">
                <a16:creationId xmlns:a16="http://schemas.microsoft.com/office/drawing/2014/main" id="{CCB1F036-D17F-48BE-BE7D-D365A2356556}"/>
              </a:ext>
            </a:extLst>
          </p:cNvPr>
          <p:cNvSpPr>
            <a:spLocks noGrp="1"/>
          </p:cNvSpPr>
          <p:nvPr>
            <p:ph type="chart" sz="quarter" idx="76" hasCustomPrompt="1"/>
          </p:nvPr>
        </p:nvSpPr>
        <p:spPr>
          <a:xfrm>
            <a:off x="6492985" y="4699522"/>
            <a:ext cx="5259386" cy="1550966"/>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17" name="Marcador de gráfico 3">
            <a:extLst>
              <a:ext uri="{FF2B5EF4-FFF2-40B4-BE49-F238E27FC236}">
                <a16:creationId xmlns:a16="http://schemas.microsoft.com/office/drawing/2014/main" id="{1BBED300-AE1D-4522-B424-4DF461F52876}"/>
              </a:ext>
            </a:extLst>
          </p:cNvPr>
          <p:cNvSpPr>
            <a:spLocks noGrp="1"/>
          </p:cNvSpPr>
          <p:nvPr>
            <p:ph type="chart" sz="quarter" idx="65" hasCustomPrompt="1"/>
          </p:nvPr>
        </p:nvSpPr>
        <p:spPr>
          <a:xfrm>
            <a:off x="442916" y="245110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0" name="Marcador de texto 4">
            <a:extLst>
              <a:ext uri="{FF2B5EF4-FFF2-40B4-BE49-F238E27FC236}">
                <a16:creationId xmlns:a16="http://schemas.microsoft.com/office/drawing/2014/main" id="{5D6713AF-077E-4E2D-A27C-D9619792B68E}"/>
              </a:ext>
            </a:extLst>
          </p:cNvPr>
          <p:cNvSpPr>
            <a:spLocks noGrp="1"/>
          </p:cNvSpPr>
          <p:nvPr>
            <p:ph type="body" sz="quarter" idx="31" hasCustomPrompt="1"/>
          </p:nvPr>
        </p:nvSpPr>
        <p:spPr>
          <a:xfrm>
            <a:off x="44291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4" name="Marcador de texto 4">
            <a:extLst>
              <a:ext uri="{FF2B5EF4-FFF2-40B4-BE49-F238E27FC236}">
                <a16:creationId xmlns:a16="http://schemas.microsoft.com/office/drawing/2014/main" id="{85ABDA6C-835E-4042-8B67-F99F2D15D02D}"/>
              </a:ext>
            </a:extLst>
          </p:cNvPr>
          <p:cNvSpPr>
            <a:spLocks noGrp="1"/>
          </p:cNvSpPr>
          <p:nvPr>
            <p:ph type="body" sz="quarter" idx="66" hasCustomPrompt="1"/>
          </p:nvPr>
        </p:nvSpPr>
        <p:spPr>
          <a:xfrm>
            <a:off x="43926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5" name="Marcador de gráfico 3">
            <a:extLst>
              <a:ext uri="{FF2B5EF4-FFF2-40B4-BE49-F238E27FC236}">
                <a16:creationId xmlns:a16="http://schemas.microsoft.com/office/drawing/2014/main" id="{F74077C6-A545-4B50-B95B-26A6F86B5B68}"/>
              </a:ext>
            </a:extLst>
          </p:cNvPr>
          <p:cNvSpPr>
            <a:spLocks noGrp="1"/>
          </p:cNvSpPr>
          <p:nvPr>
            <p:ph type="chart" sz="quarter" idx="67" hasCustomPrompt="1"/>
          </p:nvPr>
        </p:nvSpPr>
        <p:spPr>
          <a:xfrm>
            <a:off x="4297801" y="245110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6" name="Marcador de texto 4">
            <a:extLst>
              <a:ext uri="{FF2B5EF4-FFF2-40B4-BE49-F238E27FC236}">
                <a16:creationId xmlns:a16="http://schemas.microsoft.com/office/drawing/2014/main" id="{9E6E83DC-32BD-49D0-A082-494B760DB463}"/>
              </a:ext>
            </a:extLst>
          </p:cNvPr>
          <p:cNvSpPr>
            <a:spLocks noGrp="1"/>
          </p:cNvSpPr>
          <p:nvPr>
            <p:ph type="body" sz="quarter" idx="68" hasCustomPrompt="1"/>
          </p:nvPr>
        </p:nvSpPr>
        <p:spPr>
          <a:xfrm>
            <a:off x="4297801"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7" name="Marcador de texto 4">
            <a:extLst>
              <a:ext uri="{FF2B5EF4-FFF2-40B4-BE49-F238E27FC236}">
                <a16:creationId xmlns:a16="http://schemas.microsoft.com/office/drawing/2014/main" id="{BE0BBE6B-A71A-481A-9330-42A564D0683E}"/>
              </a:ext>
            </a:extLst>
          </p:cNvPr>
          <p:cNvSpPr>
            <a:spLocks noGrp="1"/>
          </p:cNvSpPr>
          <p:nvPr>
            <p:ph type="body" sz="quarter" idx="69" hasCustomPrompt="1"/>
          </p:nvPr>
        </p:nvSpPr>
        <p:spPr>
          <a:xfrm>
            <a:off x="4294147"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8" name="Marcador de gráfico 3">
            <a:extLst>
              <a:ext uri="{FF2B5EF4-FFF2-40B4-BE49-F238E27FC236}">
                <a16:creationId xmlns:a16="http://schemas.microsoft.com/office/drawing/2014/main" id="{23FF60E0-6A6C-4713-91EC-79101DBEED65}"/>
              </a:ext>
            </a:extLst>
          </p:cNvPr>
          <p:cNvSpPr>
            <a:spLocks noGrp="1"/>
          </p:cNvSpPr>
          <p:nvPr>
            <p:ph type="chart" sz="quarter" idx="70" hasCustomPrompt="1"/>
          </p:nvPr>
        </p:nvSpPr>
        <p:spPr>
          <a:xfrm>
            <a:off x="8152686" y="245110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9" name="Marcador de texto 4">
            <a:extLst>
              <a:ext uri="{FF2B5EF4-FFF2-40B4-BE49-F238E27FC236}">
                <a16:creationId xmlns:a16="http://schemas.microsoft.com/office/drawing/2014/main" id="{D64A3392-1A51-4783-B910-26BDD5D2062C}"/>
              </a:ext>
            </a:extLst>
          </p:cNvPr>
          <p:cNvSpPr>
            <a:spLocks noGrp="1"/>
          </p:cNvSpPr>
          <p:nvPr>
            <p:ph type="body" sz="quarter" idx="77" hasCustomPrompt="1"/>
          </p:nvPr>
        </p:nvSpPr>
        <p:spPr>
          <a:xfrm>
            <a:off x="815268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6" name="Marcador de texto 4">
            <a:extLst>
              <a:ext uri="{FF2B5EF4-FFF2-40B4-BE49-F238E27FC236}">
                <a16:creationId xmlns:a16="http://schemas.microsoft.com/office/drawing/2014/main" id="{4ACAD040-4D07-4AD7-B2EB-1925E983328F}"/>
              </a:ext>
            </a:extLst>
          </p:cNvPr>
          <p:cNvSpPr>
            <a:spLocks noGrp="1"/>
          </p:cNvSpPr>
          <p:nvPr>
            <p:ph type="body" sz="quarter" idx="78" hasCustomPrompt="1"/>
          </p:nvPr>
        </p:nvSpPr>
        <p:spPr>
          <a:xfrm>
            <a:off x="814903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795067299"/>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 Charts">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954469CA-02DC-4182-829B-3FE818ED7F12}"/>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3" name="Conector recto 12">
            <a:extLst>
              <a:ext uri="{FF2B5EF4-FFF2-40B4-BE49-F238E27FC236}">
                <a16:creationId xmlns:a16="http://schemas.microsoft.com/office/drawing/2014/main" id="{E322ECEF-11FE-4236-8540-85F0730E8AA7}"/>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Marcador de gráfico 3">
            <a:extLst>
              <a:ext uri="{FF2B5EF4-FFF2-40B4-BE49-F238E27FC236}">
                <a16:creationId xmlns:a16="http://schemas.microsoft.com/office/drawing/2014/main" id="{1BBED300-AE1D-4522-B424-4DF461F52876}"/>
              </a:ext>
            </a:extLst>
          </p:cNvPr>
          <p:cNvSpPr>
            <a:spLocks noGrp="1"/>
          </p:cNvSpPr>
          <p:nvPr>
            <p:ph type="chart" sz="quarter" idx="65" hasCustomPrompt="1"/>
          </p:nvPr>
        </p:nvSpPr>
        <p:spPr>
          <a:xfrm>
            <a:off x="442916" y="229108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0" name="Marcador de texto 4">
            <a:extLst>
              <a:ext uri="{FF2B5EF4-FFF2-40B4-BE49-F238E27FC236}">
                <a16:creationId xmlns:a16="http://schemas.microsoft.com/office/drawing/2014/main" id="{5D6713AF-077E-4E2D-A27C-D9619792B68E}"/>
              </a:ext>
            </a:extLst>
          </p:cNvPr>
          <p:cNvSpPr>
            <a:spLocks noGrp="1"/>
          </p:cNvSpPr>
          <p:nvPr>
            <p:ph type="body" sz="quarter" idx="31" hasCustomPrompt="1"/>
          </p:nvPr>
        </p:nvSpPr>
        <p:spPr>
          <a:xfrm>
            <a:off x="44291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4" name="Marcador de texto 4">
            <a:extLst>
              <a:ext uri="{FF2B5EF4-FFF2-40B4-BE49-F238E27FC236}">
                <a16:creationId xmlns:a16="http://schemas.microsoft.com/office/drawing/2014/main" id="{85ABDA6C-835E-4042-8B67-F99F2D15D02D}"/>
              </a:ext>
            </a:extLst>
          </p:cNvPr>
          <p:cNvSpPr>
            <a:spLocks noGrp="1"/>
          </p:cNvSpPr>
          <p:nvPr>
            <p:ph type="body" sz="quarter" idx="66" hasCustomPrompt="1"/>
          </p:nvPr>
        </p:nvSpPr>
        <p:spPr>
          <a:xfrm>
            <a:off x="43926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5" name="Marcador de gráfico 3">
            <a:extLst>
              <a:ext uri="{FF2B5EF4-FFF2-40B4-BE49-F238E27FC236}">
                <a16:creationId xmlns:a16="http://schemas.microsoft.com/office/drawing/2014/main" id="{F74077C6-A545-4B50-B95B-26A6F86B5B68}"/>
              </a:ext>
            </a:extLst>
          </p:cNvPr>
          <p:cNvSpPr>
            <a:spLocks noGrp="1"/>
          </p:cNvSpPr>
          <p:nvPr>
            <p:ph type="chart" sz="quarter" idx="67" hasCustomPrompt="1"/>
          </p:nvPr>
        </p:nvSpPr>
        <p:spPr>
          <a:xfrm>
            <a:off x="4297801" y="229108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6" name="Marcador de texto 4">
            <a:extLst>
              <a:ext uri="{FF2B5EF4-FFF2-40B4-BE49-F238E27FC236}">
                <a16:creationId xmlns:a16="http://schemas.microsoft.com/office/drawing/2014/main" id="{9E6E83DC-32BD-49D0-A082-494B760DB463}"/>
              </a:ext>
            </a:extLst>
          </p:cNvPr>
          <p:cNvSpPr>
            <a:spLocks noGrp="1"/>
          </p:cNvSpPr>
          <p:nvPr>
            <p:ph type="body" sz="quarter" idx="68" hasCustomPrompt="1"/>
          </p:nvPr>
        </p:nvSpPr>
        <p:spPr>
          <a:xfrm>
            <a:off x="4297801"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7" name="Marcador de texto 4">
            <a:extLst>
              <a:ext uri="{FF2B5EF4-FFF2-40B4-BE49-F238E27FC236}">
                <a16:creationId xmlns:a16="http://schemas.microsoft.com/office/drawing/2014/main" id="{BE0BBE6B-A71A-481A-9330-42A564D0683E}"/>
              </a:ext>
            </a:extLst>
          </p:cNvPr>
          <p:cNvSpPr>
            <a:spLocks noGrp="1"/>
          </p:cNvSpPr>
          <p:nvPr>
            <p:ph type="body" sz="quarter" idx="69" hasCustomPrompt="1"/>
          </p:nvPr>
        </p:nvSpPr>
        <p:spPr>
          <a:xfrm>
            <a:off x="4294147"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28" name="Marcador de gráfico 3">
            <a:extLst>
              <a:ext uri="{FF2B5EF4-FFF2-40B4-BE49-F238E27FC236}">
                <a16:creationId xmlns:a16="http://schemas.microsoft.com/office/drawing/2014/main" id="{23FF60E0-6A6C-4713-91EC-79101DBEED65}"/>
              </a:ext>
            </a:extLst>
          </p:cNvPr>
          <p:cNvSpPr>
            <a:spLocks noGrp="1"/>
          </p:cNvSpPr>
          <p:nvPr>
            <p:ph type="chart" sz="quarter" idx="70" hasCustomPrompt="1"/>
          </p:nvPr>
        </p:nvSpPr>
        <p:spPr>
          <a:xfrm>
            <a:off x="8152686" y="229108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9" name="Marcador de texto 4">
            <a:extLst>
              <a:ext uri="{FF2B5EF4-FFF2-40B4-BE49-F238E27FC236}">
                <a16:creationId xmlns:a16="http://schemas.microsoft.com/office/drawing/2014/main" id="{D64A3392-1A51-4783-B910-26BDD5D2062C}"/>
              </a:ext>
            </a:extLst>
          </p:cNvPr>
          <p:cNvSpPr>
            <a:spLocks noGrp="1"/>
          </p:cNvSpPr>
          <p:nvPr>
            <p:ph type="body" sz="quarter" idx="77" hasCustomPrompt="1"/>
          </p:nvPr>
        </p:nvSpPr>
        <p:spPr>
          <a:xfrm>
            <a:off x="8152686" y="171824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36" name="Marcador de texto 4">
            <a:extLst>
              <a:ext uri="{FF2B5EF4-FFF2-40B4-BE49-F238E27FC236}">
                <a16:creationId xmlns:a16="http://schemas.microsoft.com/office/drawing/2014/main" id="{4ACAD040-4D07-4AD7-B2EB-1925E983328F}"/>
              </a:ext>
            </a:extLst>
          </p:cNvPr>
          <p:cNvSpPr>
            <a:spLocks noGrp="1"/>
          </p:cNvSpPr>
          <p:nvPr>
            <p:ph type="body" sz="quarter" idx="78" hasCustomPrompt="1"/>
          </p:nvPr>
        </p:nvSpPr>
        <p:spPr>
          <a:xfrm>
            <a:off x="8149032" y="195043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42" name="Marcador de gráfico 3">
            <a:extLst>
              <a:ext uri="{FF2B5EF4-FFF2-40B4-BE49-F238E27FC236}">
                <a16:creationId xmlns:a16="http://schemas.microsoft.com/office/drawing/2014/main" id="{4E2E06AC-2387-4CA0-B018-BA38E75AD6AA}"/>
              </a:ext>
            </a:extLst>
          </p:cNvPr>
          <p:cNvSpPr>
            <a:spLocks noGrp="1"/>
          </p:cNvSpPr>
          <p:nvPr>
            <p:ph type="chart" sz="quarter" idx="79" hasCustomPrompt="1"/>
          </p:nvPr>
        </p:nvSpPr>
        <p:spPr>
          <a:xfrm>
            <a:off x="442916" y="475234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43" name="Marcador de texto 4">
            <a:extLst>
              <a:ext uri="{FF2B5EF4-FFF2-40B4-BE49-F238E27FC236}">
                <a16:creationId xmlns:a16="http://schemas.microsoft.com/office/drawing/2014/main" id="{23EA909F-BF2E-47EA-8C08-CE7DA89662CB}"/>
              </a:ext>
            </a:extLst>
          </p:cNvPr>
          <p:cNvSpPr>
            <a:spLocks noGrp="1"/>
          </p:cNvSpPr>
          <p:nvPr>
            <p:ph type="body" sz="quarter" idx="80" hasCustomPrompt="1"/>
          </p:nvPr>
        </p:nvSpPr>
        <p:spPr>
          <a:xfrm>
            <a:off x="442916" y="417950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44" name="Marcador de texto 4">
            <a:extLst>
              <a:ext uri="{FF2B5EF4-FFF2-40B4-BE49-F238E27FC236}">
                <a16:creationId xmlns:a16="http://schemas.microsoft.com/office/drawing/2014/main" id="{355E7AE0-BD93-46C5-BCC7-14BD463E075A}"/>
              </a:ext>
            </a:extLst>
          </p:cNvPr>
          <p:cNvSpPr>
            <a:spLocks noGrp="1"/>
          </p:cNvSpPr>
          <p:nvPr>
            <p:ph type="body" sz="quarter" idx="81" hasCustomPrompt="1"/>
          </p:nvPr>
        </p:nvSpPr>
        <p:spPr>
          <a:xfrm>
            <a:off x="439262" y="441169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45" name="Marcador de gráfico 3">
            <a:extLst>
              <a:ext uri="{FF2B5EF4-FFF2-40B4-BE49-F238E27FC236}">
                <a16:creationId xmlns:a16="http://schemas.microsoft.com/office/drawing/2014/main" id="{08B65512-5B21-4DB0-8896-ACED07D4D643}"/>
              </a:ext>
            </a:extLst>
          </p:cNvPr>
          <p:cNvSpPr>
            <a:spLocks noGrp="1"/>
          </p:cNvSpPr>
          <p:nvPr>
            <p:ph type="chart" sz="quarter" idx="82" hasCustomPrompt="1"/>
          </p:nvPr>
        </p:nvSpPr>
        <p:spPr>
          <a:xfrm>
            <a:off x="4297801" y="475234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46" name="Marcador de texto 4">
            <a:extLst>
              <a:ext uri="{FF2B5EF4-FFF2-40B4-BE49-F238E27FC236}">
                <a16:creationId xmlns:a16="http://schemas.microsoft.com/office/drawing/2014/main" id="{0FCA213A-23E7-436A-8D39-3824699B8746}"/>
              </a:ext>
            </a:extLst>
          </p:cNvPr>
          <p:cNvSpPr>
            <a:spLocks noGrp="1"/>
          </p:cNvSpPr>
          <p:nvPr>
            <p:ph type="body" sz="quarter" idx="83" hasCustomPrompt="1"/>
          </p:nvPr>
        </p:nvSpPr>
        <p:spPr>
          <a:xfrm>
            <a:off x="4297801" y="417950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47" name="Marcador de texto 4">
            <a:extLst>
              <a:ext uri="{FF2B5EF4-FFF2-40B4-BE49-F238E27FC236}">
                <a16:creationId xmlns:a16="http://schemas.microsoft.com/office/drawing/2014/main" id="{174F2109-187F-4250-8346-C1303B029EB0}"/>
              </a:ext>
            </a:extLst>
          </p:cNvPr>
          <p:cNvSpPr>
            <a:spLocks noGrp="1"/>
          </p:cNvSpPr>
          <p:nvPr>
            <p:ph type="body" sz="quarter" idx="84" hasCustomPrompt="1"/>
          </p:nvPr>
        </p:nvSpPr>
        <p:spPr>
          <a:xfrm>
            <a:off x="4294147" y="441169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48" name="Marcador de gráfico 3">
            <a:extLst>
              <a:ext uri="{FF2B5EF4-FFF2-40B4-BE49-F238E27FC236}">
                <a16:creationId xmlns:a16="http://schemas.microsoft.com/office/drawing/2014/main" id="{FF2F0CF8-9ABD-49EA-9DEB-9F32DA2BB682}"/>
              </a:ext>
            </a:extLst>
          </p:cNvPr>
          <p:cNvSpPr>
            <a:spLocks noGrp="1"/>
          </p:cNvSpPr>
          <p:nvPr>
            <p:ph type="chart" sz="quarter" idx="85" hasCustomPrompt="1"/>
          </p:nvPr>
        </p:nvSpPr>
        <p:spPr>
          <a:xfrm>
            <a:off x="8152686" y="4752340"/>
            <a:ext cx="3609257" cy="1489528"/>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49" name="Marcador de texto 4">
            <a:extLst>
              <a:ext uri="{FF2B5EF4-FFF2-40B4-BE49-F238E27FC236}">
                <a16:creationId xmlns:a16="http://schemas.microsoft.com/office/drawing/2014/main" id="{1B6AEDDD-1F36-41D0-BA5B-BEFE6F549DF5}"/>
              </a:ext>
            </a:extLst>
          </p:cNvPr>
          <p:cNvSpPr>
            <a:spLocks noGrp="1"/>
          </p:cNvSpPr>
          <p:nvPr>
            <p:ph type="body" sz="quarter" idx="86" hasCustomPrompt="1"/>
          </p:nvPr>
        </p:nvSpPr>
        <p:spPr>
          <a:xfrm>
            <a:off x="8152686" y="4179504"/>
            <a:ext cx="3606212" cy="197640"/>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50" name="Marcador de texto 4">
            <a:extLst>
              <a:ext uri="{FF2B5EF4-FFF2-40B4-BE49-F238E27FC236}">
                <a16:creationId xmlns:a16="http://schemas.microsoft.com/office/drawing/2014/main" id="{D36423C6-ADB0-41A1-8BB4-4CBC237F9235}"/>
              </a:ext>
            </a:extLst>
          </p:cNvPr>
          <p:cNvSpPr>
            <a:spLocks noGrp="1"/>
          </p:cNvSpPr>
          <p:nvPr>
            <p:ph type="body" sz="quarter" idx="87" hasCustomPrompt="1"/>
          </p:nvPr>
        </p:nvSpPr>
        <p:spPr>
          <a:xfrm>
            <a:off x="8149032" y="4411699"/>
            <a:ext cx="3606212" cy="1976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Tree>
    <p:extLst>
      <p:ext uri="{BB962C8B-B14F-4D97-AF65-F5344CB8AC3E}">
        <p14:creationId xmlns:p14="http://schemas.microsoft.com/office/powerpoint/2010/main" val="1496109905"/>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and Graphic">
    <p:spTree>
      <p:nvGrpSpPr>
        <p:cNvPr id="1" name=""/>
        <p:cNvGrpSpPr/>
        <p:nvPr/>
      </p:nvGrpSpPr>
      <p:grpSpPr>
        <a:xfrm>
          <a:off x="0" y="0"/>
          <a:ext cx="0" cy="0"/>
          <a:chOff x="0" y="0"/>
          <a:chExt cx="0" cy="0"/>
        </a:xfrm>
      </p:grpSpPr>
      <p:sp>
        <p:nvSpPr>
          <p:cNvPr id="20" name="Marcador de gráfico 3">
            <a:extLst>
              <a:ext uri="{FF2B5EF4-FFF2-40B4-BE49-F238E27FC236}">
                <a16:creationId xmlns:a16="http://schemas.microsoft.com/office/drawing/2014/main" id="{6C84E140-21FE-47BC-9BD8-48586AE28693}"/>
              </a:ext>
            </a:extLst>
          </p:cNvPr>
          <p:cNvSpPr>
            <a:spLocks noGrp="1"/>
          </p:cNvSpPr>
          <p:nvPr>
            <p:ph type="chart" sz="quarter" idx="65" hasCustomPrompt="1"/>
          </p:nvPr>
        </p:nvSpPr>
        <p:spPr>
          <a:xfrm>
            <a:off x="5375033" y="2362884"/>
            <a:ext cx="6374058" cy="3874400"/>
          </a:xfrm>
          <a:prstGeom prst="rect">
            <a:avLst/>
          </a:prstGeom>
        </p:spPr>
        <p:txBody>
          <a:bodyPr/>
          <a:lstStyle>
            <a:lvl1pPr marL="0" indent="0">
              <a:buFont typeface="Arial" panose="020B0604020202020204" pitchFamily="34" charset="0"/>
              <a:buNone/>
              <a:defRPr sz="1300">
                <a:solidFill>
                  <a:schemeClr val="tx1"/>
                </a:solidFill>
                <a:latin typeface="Santander Text Light" panose="020B0304020201020104" pitchFamily="34" charset="0"/>
              </a:defRPr>
            </a:lvl1pPr>
          </a:lstStyle>
          <a:p>
            <a:pPr marL="0" marR="0" lvl="0" indent="0" algn="l" defTabSz="742950" rtl="0" eaLnBrk="1" fontAlgn="auto" latinLnBrk="0" hangingPunct="1">
              <a:lnSpc>
                <a:spcPct val="90000"/>
              </a:lnSpc>
              <a:spcBef>
                <a:spcPts val="813"/>
              </a:spcBef>
              <a:spcAft>
                <a:spcPts val="0"/>
              </a:spcAft>
              <a:buClrTx/>
              <a:buSzTx/>
              <a:buFont typeface="Arial" panose="020B0604020202020204" pitchFamily="34" charset="0"/>
              <a:buNone/>
              <a:tabLst/>
              <a:defRPr/>
            </a:pPr>
            <a:r>
              <a:rPr lang="es-ES" dirty="0"/>
              <a:t>Graphic</a:t>
            </a:r>
          </a:p>
          <a:p>
            <a:endParaRPr lang="es-ES" dirty="0"/>
          </a:p>
        </p:txBody>
      </p:sp>
      <p:sp>
        <p:nvSpPr>
          <p:cNvPr id="25" name="Marcador de texto 4">
            <a:extLst>
              <a:ext uri="{FF2B5EF4-FFF2-40B4-BE49-F238E27FC236}">
                <a16:creationId xmlns:a16="http://schemas.microsoft.com/office/drawing/2014/main" id="{48A6AA47-53C4-43F9-A7D8-EC6D26F9F78C}"/>
              </a:ext>
            </a:extLst>
          </p:cNvPr>
          <p:cNvSpPr>
            <a:spLocks noGrp="1"/>
          </p:cNvSpPr>
          <p:nvPr>
            <p:ph type="body" sz="quarter" idx="69" hasCustomPrompt="1"/>
          </p:nvPr>
        </p:nvSpPr>
        <p:spPr>
          <a:xfrm>
            <a:off x="5375033" y="1709206"/>
            <a:ext cx="6378250"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Graphic Title</a:t>
            </a:r>
          </a:p>
        </p:txBody>
      </p:sp>
      <p:sp>
        <p:nvSpPr>
          <p:cNvPr id="26" name="Marcador de texto 4">
            <a:extLst>
              <a:ext uri="{FF2B5EF4-FFF2-40B4-BE49-F238E27FC236}">
                <a16:creationId xmlns:a16="http://schemas.microsoft.com/office/drawing/2014/main" id="{43AFF363-4C6C-4655-B054-694A479F33BA}"/>
              </a:ext>
            </a:extLst>
          </p:cNvPr>
          <p:cNvSpPr>
            <a:spLocks noGrp="1"/>
          </p:cNvSpPr>
          <p:nvPr>
            <p:ph type="body" sz="quarter" idx="70" hasCustomPrompt="1"/>
          </p:nvPr>
        </p:nvSpPr>
        <p:spPr>
          <a:xfrm>
            <a:off x="5375277" y="2088365"/>
            <a:ext cx="6378251" cy="2357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Fuente Gráfico</a:t>
            </a:r>
          </a:p>
        </p:txBody>
      </p:sp>
      <p:sp>
        <p:nvSpPr>
          <p:cNvPr id="27" name="Marcador de texto 4">
            <a:extLst>
              <a:ext uri="{FF2B5EF4-FFF2-40B4-BE49-F238E27FC236}">
                <a16:creationId xmlns:a16="http://schemas.microsoft.com/office/drawing/2014/main" id="{52623ED4-9832-4D3C-86AB-17810BA9597C}"/>
              </a:ext>
            </a:extLst>
          </p:cNvPr>
          <p:cNvSpPr>
            <a:spLocks noGrp="1"/>
          </p:cNvSpPr>
          <p:nvPr>
            <p:ph type="body" sz="quarter" idx="24" hasCustomPrompt="1"/>
          </p:nvPr>
        </p:nvSpPr>
        <p:spPr>
          <a:xfrm>
            <a:off x="451961" y="2088364"/>
            <a:ext cx="4348641" cy="4148927"/>
          </a:xfrm>
          <a:prstGeom prst="rect">
            <a:avLst/>
          </a:prstGeom>
        </p:spPr>
        <p:txBody>
          <a:bodyPr lIns="3600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9" name="Título 1">
            <a:extLst>
              <a:ext uri="{FF2B5EF4-FFF2-40B4-BE49-F238E27FC236}">
                <a16:creationId xmlns:a16="http://schemas.microsoft.com/office/drawing/2014/main" id="{E547FB6A-B2A8-4E74-A1D0-4AA782A7822D}"/>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0" name="Conector recto 9">
            <a:extLst>
              <a:ext uri="{FF2B5EF4-FFF2-40B4-BE49-F238E27FC236}">
                <a16:creationId xmlns:a16="http://schemas.microsoft.com/office/drawing/2014/main" id="{1AD67BA4-DD3E-4381-8163-BE129D67768D}"/>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Marcador de texto 4">
            <a:extLst>
              <a:ext uri="{FF2B5EF4-FFF2-40B4-BE49-F238E27FC236}">
                <a16:creationId xmlns:a16="http://schemas.microsoft.com/office/drawing/2014/main" id="{6008DE5B-261B-4F01-907C-992D726D5A6C}"/>
              </a:ext>
            </a:extLst>
          </p:cNvPr>
          <p:cNvSpPr>
            <a:spLocks noGrp="1"/>
          </p:cNvSpPr>
          <p:nvPr>
            <p:ph type="body" sz="quarter" idx="71" hasCustomPrompt="1"/>
          </p:nvPr>
        </p:nvSpPr>
        <p:spPr>
          <a:xfrm>
            <a:off x="448102" y="1709206"/>
            <a:ext cx="4352256"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3224189032"/>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5" name="Marcador de texto 4">
            <a:extLst>
              <a:ext uri="{FF2B5EF4-FFF2-40B4-BE49-F238E27FC236}">
                <a16:creationId xmlns:a16="http://schemas.microsoft.com/office/drawing/2014/main" id="{48A6AA47-53C4-43F9-A7D8-EC6D26F9F78C}"/>
              </a:ext>
            </a:extLst>
          </p:cNvPr>
          <p:cNvSpPr>
            <a:spLocks noGrp="1"/>
          </p:cNvSpPr>
          <p:nvPr>
            <p:ph type="body" sz="quarter" idx="69" hasCustomPrompt="1"/>
          </p:nvPr>
        </p:nvSpPr>
        <p:spPr>
          <a:xfrm>
            <a:off x="5375275" y="1718244"/>
            <a:ext cx="6378250"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Title</a:t>
            </a:r>
          </a:p>
        </p:txBody>
      </p:sp>
      <p:sp>
        <p:nvSpPr>
          <p:cNvPr id="26" name="Marcador de texto 4">
            <a:extLst>
              <a:ext uri="{FF2B5EF4-FFF2-40B4-BE49-F238E27FC236}">
                <a16:creationId xmlns:a16="http://schemas.microsoft.com/office/drawing/2014/main" id="{43AFF363-4C6C-4655-B054-694A479F33BA}"/>
              </a:ext>
            </a:extLst>
          </p:cNvPr>
          <p:cNvSpPr>
            <a:spLocks noGrp="1"/>
          </p:cNvSpPr>
          <p:nvPr>
            <p:ph type="body" sz="quarter" idx="70" hasCustomPrompt="1"/>
          </p:nvPr>
        </p:nvSpPr>
        <p:spPr>
          <a:xfrm>
            <a:off x="5375277" y="2088365"/>
            <a:ext cx="6378251" cy="235739"/>
          </a:xfrm>
          <a:prstGeom prst="rect">
            <a:avLst/>
          </a:prstGeom>
        </p:spPr>
        <p:txBody>
          <a:bodyPr lIns="0" tIns="0" rIns="0" bIns="0" anchor="ctr" anchorCtr="0">
            <a:noAutofit/>
          </a:bodyPr>
          <a:lstStyle>
            <a:lvl1pPr marL="0" indent="0">
              <a:buNone/>
              <a:defRPr sz="900" b="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Source</a:t>
            </a:r>
            <a:endParaRPr lang="es-ES" dirty="0"/>
          </a:p>
        </p:txBody>
      </p:sp>
      <p:sp>
        <p:nvSpPr>
          <p:cNvPr id="9" name="Marcador de texto 4">
            <a:extLst>
              <a:ext uri="{FF2B5EF4-FFF2-40B4-BE49-F238E27FC236}">
                <a16:creationId xmlns:a16="http://schemas.microsoft.com/office/drawing/2014/main" id="{5A0F4276-617C-4D27-90E7-83B5FBE89DD9}"/>
              </a:ext>
            </a:extLst>
          </p:cNvPr>
          <p:cNvSpPr>
            <a:spLocks noGrp="1"/>
          </p:cNvSpPr>
          <p:nvPr>
            <p:ph type="body" sz="quarter" idx="42" hasCustomPrompt="1"/>
          </p:nvPr>
        </p:nvSpPr>
        <p:spPr>
          <a:xfrm>
            <a:off x="462773" y="5170282"/>
            <a:ext cx="1792292" cy="665815"/>
          </a:xfrm>
          <a:prstGeom prst="rect">
            <a:avLst/>
          </a:prstGeom>
        </p:spPr>
        <p:txBody>
          <a:bodyPr lIns="0" tIns="0" rIns="0" bIns="0">
            <a:noAutofit/>
          </a:bodyPr>
          <a:lstStyle>
            <a:lvl1pPr marL="0" indent="0">
              <a:buNone/>
              <a:defRPr sz="4550" baseline="0">
                <a:solidFill>
                  <a:schemeClr val="accent2"/>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Fact</a:t>
            </a:r>
            <a:endParaRPr lang="es-ES" dirty="0"/>
          </a:p>
        </p:txBody>
      </p:sp>
      <p:sp>
        <p:nvSpPr>
          <p:cNvPr id="10" name="Marcador de texto 4">
            <a:extLst>
              <a:ext uri="{FF2B5EF4-FFF2-40B4-BE49-F238E27FC236}">
                <a16:creationId xmlns:a16="http://schemas.microsoft.com/office/drawing/2014/main" id="{8D2C2761-CDB4-4DA9-B876-933C96254C84}"/>
              </a:ext>
            </a:extLst>
          </p:cNvPr>
          <p:cNvSpPr>
            <a:spLocks noGrp="1"/>
          </p:cNvSpPr>
          <p:nvPr>
            <p:ph type="body" sz="quarter" idx="43" hasCustomPrompt="1"/>
          </p:nvPr>
        </p:nvSpPr>
        <p:spPr>
          <a:xfrm>
            <a:off x="462771" y="5869963"/>
            <a:ext cx="1792294" cy="356715"/>
          </a:xfrm>
          <a:prstGeom prst="rect">
            <a:avLst/>
          </a:prstGeom>
        </p:spPr>
        <p:txBody>
          <a:bodyPr lIns="0" tIns="0" rIns="0" bIns="0">
            <a:noAutofit/>
          </a:bodyPr>
          <a:lstStyle>
            <a:lvl1pPr marL="0" indent="0">
              <a:buNone/>
              <a:defRPr sz="1138" baseline="0">
                <a:solidFill>
                  <a:schemeClr val="tx1"/>
                </a:solidFill>
                <a:latin typeface="Santander Text"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Fact</a:t>
            </a:r>
            <a:endParaRPr lang="es-ES" dirty="0"/>
          </a:p>
        </p:txBody>
      </p:sp>
      <p:sp>
        <p:nvSpPr>
          <p:cNvPr id="11" name="Marcador de texto 4">
            <a:extLst>
              <a:ext uri="{FF2B5EF4-FFF2-40B4-BE49-F238E27FC236}">
                <a16:creationId xmlns:a16="http://schemas.microsoft.com/office/drawing/2014/main" id="{AA63B073-320A-4355-B699-48658667B196}"/>
              </a:ext>
            </a:extLst>
          </p:cNvPr>
          <p:cNvSpPr>
            <a:spLocks noGrp="1"/>
          </p:cNvSpPr>
          <p:nvPr>
            <p:ph type="body" sz="quarter" idx="44" hasCustomPrompt="1"/>
          </p:nvPr>
        </p:nvSpPr>
        <p:spPr>
          <a:xfrm>
            <a:off x="462773" y="4929224"/>
            <a:ext cx="1792295" cy="241057"/>
          </a:xfrm>
          <a:prstGeom prst="rect">
            <a:avLst/>
          </a:prstGeom>
        </p:spPr>
        <p:txBody>
          <a:bodyPr lIns="0" tIns="0" rIns="0" bIns="0">
            <a:noAutofit/>
          </a:bodyPr>
          <a:lstStyle>
            <a:lvl1pPr marL="0" indent="0">
              <a:buNone/>
              <a:defRPr sz="1463" b="0" baseline="0">
                <a:solidFill>
                  <a:schemeClr val="tx1"/>
                </a:solidFill>
                <a:latin typeface="Santander Text"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Fact</a:t>
            </a:r>
            <a:endParaRPr lang="es-ES" dirty="0"/>
          </a:p>
        </p:txBody>
      </p:sp>
      <p:sp>
        <p:nvSpPr>
          <p:cNvPr id="12" name="Marcador de tabla 3">
            <a:extLst>
              <a:ext uri="{FF2B5EF4-FFF2-40B4-BE49-F238E27FC236}">
                <a16:creationId xmlns:a16="http://schemas.microsoft.com/office/drawing/2014/main" id="{AE2A4C76-F8EE-4514-92C7-7039A75D000C}"/>
              </a:ext>
            </a:extLst>
          </p:cNvPr>
          <p:cNvSpPr>
            <a:spLocks noGrp="1"/>
          </p:cNvSpPr>
          <p:nvPr>
            <p:ph type="tbl" sz="quarter" idx="10" hasCustomPrompt="1"/>
          </p:nvPr>
        </p:nvSpPr>
        <p:spPr>
          <a:xfrm>
            <a:off x="5375275" y="2451104"/>
            <a:ext cx="6337300" cy="3748087"/>
          </a:xfrm>
          <a:prstGeom prst="rect">
            <a:avLst/>
          </a:prstGeom>
        </p:spPr>
        <p:txBody>
          <a:bodyPr/>
          <a:lstStyle>
            <a:lvl1pPr marL="0" indent="0">
              <a:buNone/>
              <a:defRPr sz="900">
                <a:solidFill>
                  <a:schemeClr val="tx1"/>
                </a:solidFill>
                <a:latin typeface="Santander Text" panose="020B0504020201020104" pitchFamily="34" charset="0"/>
                <a:cs typeface="Arial" panose="020B0604020202020204" pitchFamily="34" charset="0"/>
              </a:defRPr>
            </a:lvl1pPr>
          </a:lstStyle>
          <a:p>
            <a:r>
              <a:rPr lang="es-ES" dirty="0"/>
              <a:t>Table</a:t>
            </a:r>
          </a:p>
        </p:txBody>
      </p:sp>
      <p:sp>
        <p:nvSpPr>
          <p:cNvPr id="13" name="Título 1">
            <a:extLst>
              <a:ext uri="{FF2B5EF4-FFF2-40B4-BE49-F238E27FC236}">
                <a16:creationId xmlns:a16="http://schemas.microsoft.com/office/drawing/2014/main" id="{7CCD8D0B-6C7D-4974-8558-CE14C479FC17}"/>
              </a:ext>
            </a:extLst>
          </p:cNvPr>
          <p:cNvSpPr>
            <a:spLocks noGrp="1"/>
          </p:cNvSpPr>
          <p:nvPr>
            <p:ph type="ctrTitle" hasCustomPrompt="1"/>
          </p:nvPr>
        </p:nvSpPr>
        <p:spPr>
          <a:xfrm>
            <a:off x="439259" y="939173"/>
            <a:ext cx="11309829"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4" name="Conector recto 13">
            <a:extLst>
              <a:ext uri="{FF2B5EF4-FFF2-40B4-BE49-F238E27FC236}">
                <a16:creationId xmlns:a16="http://schemas.microsoft.com/office/drawing/2014/main" id="{267847D2-84E8-49DF-A466-4EFCFD1F9529}"/>
              </a:ext>
            </a:extLst>
          </p:cNvPr>
          <p:cNvCxnSpPr>
            <a:cxnSpLocks/>
          </p:cNvCxnSpPr>
          <p:nvPr userDrawn="1"/>
        </p:nvCxnSpPr>
        <p:spPr>
          <a:xfrm>
            <a:off x="462775" y="797296"/>
            <a:ext cx="112863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Marcador de texto 4">
            <a:extLst>
              <a:ext uri="{FF2B5EF4-FFF2-40B4-BE49-F238E27FC236}">
                <a16:creationId xmlns:a16="http://schemas.microsoft.com/office/drawing/2014/main" id="{F8073D5C-2859-4AA4-9C1C-2936C57AA05D}"/>
              </a:ext>
            </a:extLst>
          </p:cNvPr>
          <p:cNvSpPr>
            <a:spLocks noGrp="1"/>
          </p:cNvSpPr>
          <p:nvPr>
            <p:ph type="body" sz="quarter" idx="24" hasCustomPrompt="1"/>
          </p:nvPr>
        </p:nvSpPr>
        <p:spPr>
          <a:xfrm>
            <a:off x="451961" y="2088362"/>
            <a:ext cx="4348641" cy="1839950"/>
          </a:xfrm>
          <a:prstGeom prst="rect">
            <a:avLst/>
          </a:prstGeom>
        </p:spPr>
        <p:txBody>
          <a:bodyPr lIns="36000" tIns="0" rIns="0" bIns="0">
            <a:noAutofit/>
          </a:bodyPr>
          <a:lstStyle>
            <a:lvl1pPr marL="0" indent="0">
              <a:lnSpc>
                <a:spcPct val="100000"/>
              </a:lnSpc>
              <a:buNone/>
              <a:defRPr sz="1200" i="0" baseline="0">
                <a:solidFill>
                  <a:schemeClr val="tx1"/>
                </a:solidFill>
                <a:latin typeface="Santander Text Light" panose="020B03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a:t>Click </a:t>
            </a:r>
            <a:r>
              <a:rPr lang="es-ES" dirty="0" err="1"/>
              <a:t>to</a:t>
            </a:r>
            <a:r>
              <a:rPr lang="es-ES" dirty="0"/>
              <a:t> </a:t>
            </a:r>
            <a:r>
              <a:rPr lang="es-ES" dirty="0" err="1"/>
              <a:t>add</a:t>
            </a:r>
            <a:r>
              <a:rPr lang="es-ES" dirty="0"/>
              <a:t> </a:t>
            </a:r>
            <a:r>
              <a:rPr lang="es-ES" dirty="0" err="1"/>
              <a:t>text</a:t>
            </a:r>
            <a:endParaRPr lang="es-ES" dirty="0"/>
          </a:p>
        </p:txBody>
      </p:sp>
      <p:sp>
        <p:nvSpPr>
          <p:cNvPr id="16" name="Marcador de texto 4">
            <a:extLst>
              <a:ext uri="{FF2B5EF4-FFF2-40B4-BE49-F238E27FC236}">
                <a16:creationId xmlns:a16="http://schemas.microsoft.com/office/drawing/2014/main" id="{2EA63AC8-8AAF-42E8-9A2C-D7243285A806}"/>
              </a:ext>
            </a:extLst>
          </p:cNvPr>
          <p:cNvSpPr>
            <a:spLocks noGrp="1"/>
          </p:cNvSpPr>
          <p:nvPr>
            <p:ph type="body" sz="quarter" idx="71" hasCustomPrompt="1"/>
          </p:nvPr>
        </p:nvSpPr>
        <p:spPr>
          <a:xfrm>
            <a:off x="448345" y="1718244"/>
            <a:ext cx="4352256" cy="288357"/>
          </a:xfrm>
          <a:prstGeom prst="rect">
            <a:avLst/>
          </a:prstGeom>
        </p:spPr>
        <p:txBody>
          <a:bodyPr lIns="0" tIns="0" rIns="0" bIns="0">
            <a:noAutofit/>
          </a:bodyPr>
          <a:lstStyle>
            <a:lvl1pPr marL="0" indent="0">
              <a:buNone/>
              <a:defRPr sz="1600" b="0" baseline="0">
                <a:solidFill>
                  <a:schemeClr val="tx1"/>
                </a:solidFill>
                <a:latin typeface="Santander Headline" panose="020B0504020201020104" pitchFamily="34" charset="0"/>
                <a:cs typeface="Arial" panose="020B06040202020202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n-US" dirty="0"/>
              <a:t>Click to add paragraph title</a:t>
            </a:r>
          </a:p>
        </p:txBody>
      </p:sp>
    </p:spTree>
    <p:extLst>
      <p:ext uri="{BB962C8B-B14F-4D97-AF65-F5344CB8AC3E}">
        <p14:creationId xmlns:p14="http://schemas.microsoft.com/office/powerpoint/2010/main" val="4082844666"/>
      </p:ext>
    </p:extLst>
  </p:cSld>
  <p:clrMapOvr>
    <a:masterClrMapping/>
  </p:clrMapOvr>
  <p:extLst>
    <p:ext uri="{DCECCB84-F9BA-43D5-87BE-67443E8EF086}">
      <p15:sldGuideLst xmlns:p15="http://schemas.microsoft.com/office/powerpoint/2012/main">
        <p15:guide id="2" pos="4566"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6" name="Marcador de texto 5">
            <a:extLst>
              <a:ext uri="{FF2B5EF4-FFF2-40B4-BE49-F238E27FC236}">
                <a16:creationId xmlns:a16="http://schemas.microsoft.com/office/drawing/2014/main" id="{A91E7ABF-0433-4394-8396-5538B9613C12}"/>
              </a:ext>
            </a:extLst>
          </p:cNvPr>
          <p:cNvSpPr>
            <a:spLocks noGrp="1"/>
          </p:cNvSpPr>
          <p:nvPr>
            <p:ph type="body" sz="quarter" idx="10" hasCustomPrompt="1"/>
          </p:nvPr>
        </p:nvSpPr>
        <p:spPr>
          <a:xfrm>
            <a:off x="5375275" y="949592"/>
            <a:ext cx="6361561" cy="1781855"/>
          </a:xfrm>
          <a:prstGeom prst="rect">
            <a:avLst/>
          </a:prstGeom>
        </p:spPr>
        <p:txBody>
          <a:bodyPr lIns="0"/>
          <a:lstStyle>
            <a:lvl1pPr marL="0" indent="0">
              <a:lnSpc>
                <a:spcPct val="12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err="1"/>
              <a:t>Edit</a:t>
            </a:r>
            <a:r>
              <a:rPr lang="es-ES" dirty="0"/>
              <a:t> </a:t>
            </a:r>
            <a:r>
              <a:rPr lang="es-ES" dirty="0" err="1"/>
              <a:t>pattern</a:t>
            </a:r>
            <a:r>
              <a:rPr lang="es-ES" dirty="0"/>
              <a:t> </a:t>
            </a:r>
            <a:r>
              <a:rPr lang="es-ES" dirty="0" err="1"/>
              <a:t>text</a:t>
            </a:r>
            <a:r>
              <a:rPr lang="es-ES" dirty="0"/>
              <a:t> </a:t>
            </a:r>
            <a:r>
              <a:rPr lang="es-ES" dirty="0" err="1"/>
              <a:t>styles</a:t>
            </a:r>
            <a:endParaRPr lang="es-ES" dirty="0"/>
          </a:p>
        </p:txBody>
      </p:sp>
      <p:sp>
        <p:nvSpPr>
          <p:cNvPr id="8" name="Marcador de texto 7">
            <a:extLst>
              <a:ext uri="{FF2B5EF4-FFF2-40B4-BE49-F238E27FC236}">
                <a16:creationId xmlns:a16="http://schemas.microsoft.com/office/drawing/2014/main" id="{4685FE03-4869-4534-B839-559C997EE376}"/>
              </a:ext>
            </a:extLst>
          </p:cNvPr>
          <p:cNvSpPr>
            <a:spLocks noGrp="1"/>
          </p:cNvSpPr>
          <p:nvPr>
            <p:ph type="body" sz="quarter" idx="11" hasCustomPrompt="1"/>
          </p:nvPr>
        </p:nvSpPr>
        <p:spPr>
          <a:xfrm>
            <a:off x="5375275" y="3043360"/>
            <a:ext cx="6361561" cy="1451781"/>
          </a:xfrm>
          <a:prstGeom prst="rect">
            <a:avLst/>
          </a:prstGeom>
        </p:spPr>
        <p:txBody>
          <a:bodyPr lIns="0"/>
          <a:lstStyle>
            <a:lvl1pPr>
              <a:lnSpc>
                <a:spcPct val="120000"/>
              </a:lnSpc>
              <a:buClr>
                <a:schemeClr val="accent1"/>
              </a:buClr>
              <a:defRPr sz="1200">
                <a:solidFill>
                  <a:schemeClr val="tx1"/>
                </a:solidFill>
                <a:latin typeface="Santander Text Light" panose="020B0304020201020104" pitchFamily="34" charset="0"/>
                <a:cs typeface="Arial" panose="020B0604020202020204" pitchFamily="34" charset="0"/>
              </a:defRPr>
            </a:lvl1pPr>
            <a:lvl2pPr marL="557213" indent="-185738">
              <a:lnSpc>
                <a:spcPct val="120000"/>
              </a:lnSpc>
              <a:buClr>
                <a:schemeClr val="accent1"/>
              </a:buClr>
              <a:buFont typeface="Calibri" panose="020F0502020204030204" pitchFamily="34" charset="0"/>
              <a:buChar char="–"/>
              <a:defRPr sz="1200">
                <a:solidFill>
                  <a:schemeClr val="tx1"/>
                </a:solidFill>
                <a:latin typeface="Santander Text Light" panose="020B0304020201020104" pitchFamily="34" charset="0"/>
              </a:defRPr>
            </a:lvl2pPr>
            <a:lvl3pPr>
              <a:defRPr sz="1138"/>
            </a:lvl3pPr>
            <a:lvl4pPr>
              <a:defRPr sz="1138"/>
            </a:lvl4pPr>
            <a:lvl5pPr>
              <a:defRPr sz="1138"/>
            </a:lvl5pPr>
          </a:lstStyle>
          <a:p>
            <a:pPr lvl="0"/>
            <a:r>
              <a:rPr lang="es-ES" dirty="0" err="1"/>
              <a:t>Edit</a:t>
            </a:r>
            <a:r>
              <a:rPr lang="es-ES" dirty="0"/>
              <a:t> </a:t>
            </a:r>
            <a:r>
              <a:rPr lang="es-ES" dirty="0" err="1"/>
              <a:t>pattern</a:t>
            </a:r>
            <a:r>
              <a:rPr lang="es-ES" dirty="0"/>
              <a:t>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5" name="Marcador de texto 5">
            <a:extLst>
              <a:ext uri="{FF2B5EF4-FFF2-40B4-BE49-F238E27FC236}">
                <a16:creationId xmlns:a16="http://schemas.microsoft.com/office/drawing/2014/main" id="{5A39879E-2A01-473D-8528-AB922992A224}"/>
              </a:ext>
            </a:extLst>
          </p:cNvPr>
          <p:cNvSpPr>
            <a:spLocks noGrp="1"/>
          </p:cNvSpPr>
          <p:nvPr>
            <p:ph type="body" sz="quarter" idx="12" hasCustomPrompt="1"/>
          </p:nvPr>
        </p:nvSpPr>
        <p:spPr>
          <a:xfrm>
            <a:off x="5375275" y="4812270"/>
            <a:ext cx="6361561" cy="875519"/>
          </a:xfrm>
          <a:prstGeom prst="rect">
            <a:avLst/>
          </a:prstGeom>
        </p:spPr>
        <p:txBody>
          <a:bodyPr lIns="0"/>
          <a:lstStyle>
            <a:lvl1pPr marL="0" indent="0">
              <a:lnSpc>
                <a:spcPct val="120000"/>
              </a:lnSpc>
              <a:spcBef>
                <a:spcPts val="0"/>
              </a:spcBef>
              <a:spcAft>
                <a:spcPts val="975"/>
              </a:spcAft>
              <a:buNone/>
              <a:defRPr sz="120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err="1"/>
              <a:t>Edit</a:t>
            </a:r>
            <a:r>
              <a:rPr lang="es-ES" dirty="0"/>
              <a:t> </a:t>
            </a:r>
            <a:r>
              <a:rPr lang="es-ES" dirty="0" err="1"/>
              <a:t>pattern</a:t>
            </a:r>
            <a:r>
              <a:rPr lang="es-ES" dirty="0"/>
              <a:t> </a:t>
            </a:r>
            <a:r>
              <a:rPr lang="es-ES" dirty="0" err="1"/>
              <a:t>text</a:t>
            </a:r>
            <a:r>
              <a:rPr lang="es-ES" dirty="0"/>
              <a:t> </a:t>
            </a:r>
            <a:r>
              <a:rPr lang="es-ES" dirty="0" err="1"/>
              <a:t>styles</a:t>
            </a:r>
            <a:endParaRPr lang="es-ES" dirty="0"/>
          </a:p>
        </p:txBody>
      </p:sp>
      <p:cxnSp>
        <p:nvCxnSpPr>
          <p:cNvPr id="13" name="Conector recto 12">
            <a:extLst>
              <a:ext uri="{FF2B5EF4-FFF2-40B4-BE49-F238E27FC236}">
                <a16:creationId xmlns:a16="http://schemas.microsoft.com/office/drawing/2014/main" id="{00BCC886-BD26-A54F-9C84-A80159F52E06}"/>
              </a:ext>
            </a:extLst>
          </p:cNvPr>
          <p:cNvCxnSpPr>
            <a:cxnSpLocks/>
          </p:cNvCxnSpPr>
          <p:nvPr userDrawn="1"/>
        </p:nvCxnSpPr>
        <p:spPr>
          <a:xfrm>
            <a:off x="5375020" y="794121"/>
            <a:ext cx="637407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ítulo 1">
            <a:extLst>
              <a:ext uri="{FF2B5EF4-FFF2-40B4-BE49-F238E27FC236}">
                <a16:creationId xmlns:a16="http://schemas.microsoft.com/office/drawing/2014/main" id="{CA13477E-CF4E-4ED8-B98D-E4C6479A2E44}"/>
              </a:ext>
            </a:extLst>
          </p:cNvPr>
          <p:cNvSpPr>
            <a:spLocks noGrp="1"/>
          </p:cNvSpPr>
          <p:nvPr>
            <p:ph type="ctrTitle" hasCustomPrompt="1"/>
          </p:nvPr>
        </p:nvSpPr>
        <p:spPr>
          <a:xfrm>
            <a:off x="439259" y="939173"/>
            <a:ext cx="4361342" cy="511802"/>
          </a:xfrm>
          <a:prstGeom prst="rect">
            <a:avLst/>
          </a:prstGeom>
        </p:spPr>
        <p:txBody>
          <a:bodyPr lIns="0" tIns="0" rIns="0" bIns="0" anchor="t" anchorCtr="0">
            <a:noAutofit/>
          </a:bodyPr>
          <a:lstStyle>
            <a:lvl1pPr algn="l">
              <a:defRPr sz="26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cxnSp>
        <p:nvCxnSpPr>
          <p:cNvPr id="10" name="Conector recto 9">
            <a:extLst>
              <a:ext uri="{FF2B5EF4-FFF2-40B4-BE49-F238E27FC236}">
                <a16:creationId xmlns:a16="http://schemas.microsoft.com/office/drawing/2014/main" id="{6B740C66-918D-4B8C-84FA-03A02C75119F}"/>
              </a:ext>
            </a:extLst>
          </p:cNvPr>
          <p:cNvCxnSpPr>
            <a:cxnSpLocks/>
          </p:cNvCxnSpPr>
          <p:nvPr userDrawn="1"/>
        </p:nvCxnSpPr>
        <p:spPr>
          <a:xfrm>
            <a:off x="462773" y="797296"/>
            <a:ext cx="435227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422754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1" name="Marcador de texto 5">
            <a:extLst>
              <a:ext uri="{FF2B5EF4-FFF2-40B4-BE49-F238E27FC236}">
                <a16:creationId xmlns:a16="http://schemas.microsoft.com/office/drawing/2014/main" id="{E186EE22-9E95-4126-AB3D-0F81CC56F370}"/>
              </a:ext>
            </a:extLst>
          </p:cNvPr>
          <p:cNvSpPr>
            <a:spLocks noGrp="1"/>
          </p:cNvSpPr>
          <p:nvPr>
            <p:ph type="body" sz="quarter" idx="25" hasCustomPrompt="1"/>
          </p:nvPr>
        </p:nvSpPr>
        <p:spPr>
          <a:xfrm>
            <a:off x="515938" y="2708346"/>
            <a:ext cx="1960562" cy="247650"/>
          </a:xfrm>
          <a:prstGeom prst="rect">
            <a:avLst/>
          </a:prstGeom>
        </p:spPr>
        <p:txBody>
          <a:bodyPr lIns="0" tIns="0" rIns="0" bIns="0"/>
          <a:lstStyle>
            <a:lvl1pPr marL="0" indent="0">
              <a:lnSpc>
                <a:spcPct val="100000"/>
              </a:lnSpc>
              <a:spcBef>
                <a:spcPts val="0"/>
              </a:spcBef>
              <a:spcAft>
                <a:spcPts val="975"/>
              </a:spcAft>
              <a:buNone/>
              <a:defRPr sz="800" b="0" i="0">
                <a:solidFill>
                  <a:schemeClr val="tx1"/>
                </a:solidFill>
                <a:latin typeface="Santander Text" panose="020B05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
        <p:nvSpPr>
          <p:cNvPr id="19" name="Marcador de texto 5">
            <a:extLst>
              <a:ext uri="{FF2B5EF4-FFF2-40B4-BE49-F238E27FC236}">
                <a16:creationId xmlns:a16="http://schemas.microsoft.com/office/drawing/2014/main" id="{F5B3AABB-B53D-46B5-8727-95C585D257E1}"/>
              </a:ext>
            </a:extLst>
          </p:cNvPr>
          <p:cNvSpPr>
            <a:spLocks noGrp="1"/>
          </p:cNvSpPr>
          <p:nvPr>
            <p:ph type="body" sz="quarter" idx="26" hasCustomPrompt="1"/>
          </p:nvPr>
        </p:nvSpPr>
        <p:spPr>
          <a:xfrm>
            <a:off x="515938" y="2956000"/>
            <a:ext cx="11352212" cy="3435279"/>
          </a:xfrm>
          <a:prstGeom prst="rect">
            <a:avLst/>
          </a:prstGeom>
        </p:spPr>
        <p:txBody>
          <a:bodyPr lIns="0" tIns="0" rIns="0" bIns="0"/>
          <a:lstStyle>
            <a:lvl1pPr marL="0" indent="0">
              <a:lnSpc>
                <a:spcPct val="100000"/>
              </a:lnSpc>
              <a:spcBef>
                <a:spcPts val="0"/>
              </a:spcBef>
              <a:spcAft>
                <a:spcPts val="325"/>
              </a:spcAft>
              <a:buNone/>
              <a:defRPr sz="800" b="0" i="0">
                <a:solidFill>
                  <a:schemeClr val="tx1"/>
                </a:solidFill>
                <a:latin typeface="Santander Text Light" panose="020B0304020201020104" pitchFamily="34" charset="0"/>
                <a:cs typeface="Arial" panose="020B0604020202020204" pitchFamily="34" charset="0"/>
              </a:defRPr>
            </a:lvl1pPr>
            <a:lvl2pPr marL="371475" indent="0">
              <a:buNone/>
              <a:defRPr>
                <a:latin typeface="Arial" panose="020B0604020202020204" pitchFamily="34" charset="0"/>
                <a:cs typeface="Arial" panose="020B0604020202020204" pitchFamily="34" charset="0"/>
              </a:defRPr>
            </a:lvl2pPr>
            <a:lvl3pPr marL="742950" indent="0">
              <a:buNone/>
              <a:defRPr>
                <a:latin typeface="Arial" panose="020B0604020202020204" pitchFamily="34" charset="0"/>
                <a:cs typeface="Arial" panose="020B0604020202020204" pitchFamily="34" charset="0"/>
              </a:defRPr>
            </a:lvl3pPr>
            <a:lvl4pPr marL="1114425" indent="0">
              <a:buNone/>
              <a:defRPr>
                <a:latin typeface="Arial" panose="020B0604020202020204" pitchFamily="34" charset="0"/>
                <a:cs typeface="Arial" panose="020B0604020202020204" pitchFamily="34" charset="0"/>
              </a:defRPr>
            </a:lvl4pPr>
            <a:lvl5pPr marL="1485900" indent="0">
              <a:buNone/>
              <a:defRPr>
                <a:latin typeface="Arial" panose="020B0604020202020204" pitchFamily="34" charset="0"/>
                <a:cs typeface="Arial" panose="020B0604020202020204" pitchFamily="34" charset="0"/>
              </a:defRPr>
            </a:lvl5pPr>
          </a:lstStyle>
          <a:p>
            <a:pPr lvl="0"/>
            <a:r>
              <a:rPr lang="es-ES" dirty="0"/>
              <a:t>Text</a:t>
            </a:r>
          </a:p>
        </p:txBody>
      </p:sp>
    </p:spTree>
    <p:extLst>
      <p:ext uri="{BB962C8B-B14F-4D97-AF65-F5344CB8AC3E}">
        <p14:creationId xmlns:p14="http://schemas.microsoft.com/office/powerpoint/2010/main" val="4022342367"/>
      </p:ext>
    </p:extLst>
  </p:cSld>
  <p:clrMapOvr>
    <a:masterClrMapping/>
  </p:clrMapOvr>
  <p:extLst>
    <p:ext uri="{DCECCB84-F9BA-43D5-87BE-67443E8EF086}">
      <p15:sldGuideLst xmlns:p15="http://schemas.microsoft.com/office/powerpoint/2012/main">
        <p15:guide id="1" pos="32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age with image_01 lines">
    <p:spTree>
      <p:nvGrpSpPr>
        <p:cNvPr id="1" name=""/>
        <p:cNvGrpSpPr/>
        <p:nvPr/>
      </p:nvGrpSpPr>
      <p:grpSpPr>
        <a:xfrm>
          <a:off x="0" y="0"/>
          <a:ext cx="0" cy="0"/>
          <a:chOff x="0" y="0"/>
          <a:chExt cx="0" cy="0"/>
        </a:xfrm>
      </p:grpSpPr>
      <p:pic>
        <p:nvPicPr>
          <p:cNvPr id="14" name="Imagen 13" descr="Persona en bicicleta en la calle&#10;&#10;Descripción generada automáticamente">
            <a:extLst>
              <a:ext uri="{FF2B5EF4-FFF2-40B4-BE49-F238E27FC236}">
                <a16:creationId xmlns:a16="http://schemas.microsoft.com/office/drawing/2014/main" id="{8F20059E-5452-476D-8A27-AB372DD43F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 t="39722" r="-2" b="12407"/>
          <a:stretch/>
        </p:blipFill>
        <p:spPr>
          <a:xfrm>
            <a:off x="-1" y="653147"/>
            <a:ext cx="12191999" cy="5507942"/>
          </a:xfrm>
          <a:prstGeom prst="rect">
            <a:avLst/>
          </a:prstGeom>
        </p:spPr>
      </p:pic>
      <p:sp>
        <p:nvSpPr>
          <p:cNvPr id="7" name="Rectángulo 6">
            <a:extLst>
              <a:ext uri="{FF2B5EF4-FFF2-40B4-BE49-F238E27FC236}">
                <a16:creationId xmlns:a16="http://schemas.microsoft.com/office/drawing/2014/main" id="{6B70D86C-2097-4806-9EA1-7E61F072D692}"/>
              </a:ext>
            </a:extLst>
          </p:cNvPr>
          <p:cNvSpPr/>
          <p:nvPr userDrawn="1"/>
        </p:nvSpPr>
        <p:spPr>
          <a:xfrm>
            <a:off x="0" y="653143"/>
            <a:ext cx="12009120" cy="5507944"/>
          </a:xfrm>
          <a:prstGeom prst="rect">
            <a:avLst/>
          </a:prstGeom>
          <a:gradFill flip="none" rotWithShape="1">
            <a:gsLst>
              <a:gs pos="58000">
                <a:schemeClr val="accent1">
                  <a:alpha val="45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dirty="0"/>
          </a:p>
        </p:txBody>
      </p:sp>
      <p:grpSp>
        <p:nvGrpSpPr>
          <p:cNvPr id="11" name="Grupo 10">
            <a:extLst>
              <a:ext uri="{FF2B5EF4-FFF2-40B4-BE49-F238E27FC236}">
                <a16:creationId xmlns:a16="http://schemas.microsoft.com/office/drawing/2014/main" id="{71E7C1E5-3C31-4DE9-A8EB-4D0E866E41C3}"/>
              </a:ext>
            </a:extLst>
          </p:cNvPr>
          <p:cNvGrpSpPr/>
          <p:nvPr userDrawn="1"/>
        </p:nvGrpSpPr>
        <p:grpSpPr>
          <a:xfrm>
            <a:off x="0" y="5283200"/>
            <a:ext cx="12192000" cy="1574800"/>
            <a:chOff x="0" y="5283200"/>
            <a:chExt cx="12192000" cy="1574800"/>
          </a:xfrm>
          <a:solidFill>
            <a:srgbClr val="F6F6F6"/>
          </a:solidFill>
        </p:grpSpPr>
        <p:sp>
          <p:nvSpPr>
            <p:cNvPr id="12" name="Rectángulo 11">
              <a:extLst>
                <a:ext uri="{FF2B5EF4-FFF2-40B4-BE49-F238E27FC236}">
                  <a16:creationId xmlns:a16="http://schemas.microsoft.com/office/drawing/2014/main" id="{05B3C424-DB64-4A80-ABDE-080E8220A3D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3" name="Rectángulo 12">
              <a:extLst>
                <a:ext uri="{FF2B5EF4-FFF2-40B4-BE49-F238E27FC236}">
                  <a16:creationId xmlns:a16="http://schemas.microsoft.com/office/drawing/2014/main" id="{02FC2C37-73FD-469E-AEEB-036833F3979F}"/>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15" name="Conector recto 14">
            <a:extLst>
              <a:ext uri="{FF2B5EF4-FFF2-40B4-BE49-F238E27FC236}">
                <a16:creationId xmlns:a16="http://schemas.microsoft.com/office/drawing/2014/main" id="{C15B0DE2-9C1F-4FE2-BC9A-BBD11BF04F13}"/>
              </a:ext>
            </a:extLst>
          </p:cNvPr>
          <p:cNvCxnSpPr>
            <a:cxnSpLocks/>
          </p:cNvCxnSpPr>
          <p:nvPr userDrawn="1"/>
        </p:nvCxnSpPr>
        <p:spPr>
          <a:xfrm>
            <a:off x="2115054" y="25403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F69D26ED-3F85-462E-9EFE-DC512FF2144D}"/>
              </a:ext>
            </a:extLst>
          </p:cNvPr>
          <p:cNvCxnSpPr>
            <a:cxnSpLocks/>
          </p:cNvCxnSpPr>
          <p:nvPr userDrawn="1"/>
        </p:nvCxnSpPr>
        <p:spPr>
          <a:xfrm>
            <a:off x="6147198" y="20891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ítulo 1">
            <a:extLst>
              <a:ext uri="{FF2B5EF4-FFF2-40B4-BE49-F238E27FC236}">
                <a16:creationId xmlns:a16="http://schemas.microsoft.com/office/drawing/2014/main" id="{98C0A169-A00F-4D40-8022-D66C231EE05E}"/>
              </a:ext>
            </a:extLst>
          </p:cNvPr>
          <p:cNvSpPr>
            <a:spLocks noGrp="1"/>
          </p:cNvSpPr>
          <p:nvPr>
            <p:ph type="ctrTitle" hasCustomPrompt="1"/>
          </p:nvPr>
        </p:nvSpPr>
        <p:spPr>
          <a:xfrm>
            <a:off x="2115054" y="19361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a:t>
            </a:r>
            <a:r>
              <a:rPr lang="es-ES" dirty="0"/>
              <a:t> </a:t>
            </a:r>
            <a:r>
              <a:rPr lang="es-ES" dirty="0" err="1"/>
              <a:t>image</a:t>
            </a:r>
            <a:endParaRPr lang="es-ES" dirty="0"/>
          </a:p>
        </p:txBody>
      </p:sp>
      <p:sp>
        <p:nvSpPr>
          <p:cNvPr id="18" name="Marcador de texto 4">
            <a:extLst>
              <a:ext uri="{FF2B5EF4-FFF2-40B4-BE49-F238E27FC236}">
                <a16:creationId xmlns:a16="http://schemas.microsoft.com/office/drawing/2014/main" id="{1EBB1587-AF66-486A-B319-BB8EE2424E21}"/>
              </a:ext>
            </a:extLst>
          </p:cNvPr>
          <p:cNvSpPr>
            <a:spLocks noGrp="1"/>
          </p:cNvSpPr>
          <p:nvPr>
            <p:ph type="body" sz="quarter" idx="47" hasCustomPrompt="1"/>
          </p:nvPr>
        </p:nvSpPr>
        <p:spPr>
          <a:xfrm>
            <a:off x="6295899" y="13682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1867487753"/>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grpSp>
        <p:nvGrpSpPr>
          <p:cNvPr id="8" name="Grupo 7">
            <a:extLst>
              <a:ext uri="{FF2B5EF4-FFF2-40B4-BE49-F238E27FC236}">
                <a16:creationId xmlns:a16="http://schemas.microsoft.com/office/drawing/2014/main" id="{F44F3CA0-7517-8F4F-AF71-A5895CED3C96}"/>
              </a:ext>
            </a:extLst>
          </p:cNvPr>
          <p:cNvGrpSpPr/>
          <p:nvPr userDrawn="1"/>
        </p:nvGrpSpPr>
        <p:grpSpPr>
          <a:xfrm>
            <a:off x="-12701" y="0"/>
            <a:ext cx="4655358" cy="6858000"/>
            <a:chOff x="-756458" y="0"/>
            <a:chExt cx="4655357" cy="6858000"/>
          </a:xfrm>
          <a:solidFill>
            <a:schemeClr val="accent4"/>
          </a:solidFill>
        </p:grpSpPr>
        <p:sp>
          <p:nvSpPr>
            <p:cNvPr id="9" name="Rectángulo 8">
              <a:extLst>
                <a:ext uri="{FF2B5EF4-FFF2-40B4-BE49-F238E27FC236}">
                  <a16:creationId xmlns:a16="http://schemas.microsoft.com/office/drawing/2014/main" id="{6A766C2A-B08D-9F43-840E-38F5BC7BC304}"/>
                </a:ext>
              </a:extLst>
            </p:cNvPr>
            <p:cNvSpPr/>
            <p:nvPr userDrawn="1"/>
          </p:nvSpPr>
          <p:spPr>
            <a:xfrm>
              <a:off x="-756458" y="0"/>
              <a:ext cx="4655357"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0" name="Rectángulo 9">
              <a:extLst>
                <a:ext uri="{FF2B5EF4-FFF2-40B4-BE49-F238E27FC236}">
                  <a16:creationId xmlns:a16="http://schemas.microsoft.com/office/drawing/2014/main" id="{409CD035-180A-0741-A5FA-BF96C110231A}"/>
                </a:ext>
              </a:extLst>
            </p:cNvPr>
            <p:cNvSpPr/>
            <p:nvPr userDrawn="1"/>
          </p:nvSpPr>
          <p:spPr>
            <a:xfrm>
              <a:off x="-756458" y="2273300"/>
              <a:ext cx="4069311" cy="45847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6" name="Subtítulo 2">
            <a:extLst>
              <a:ext uri="{FF2B5EF4-FFF2-40B4-BE49-F238E27FC236}">
                <a16:creationId xmlns:a16="http://schemas.microsoft.com/office/drawing/2014/main" id="{AF9BA34A-7FF8-4995-9217-09BBB6526127}"/>
              </a:ext>
            </a:extLst>
          </p:cNvPr>
          <p:cNvSpPr>
            <a:spLocks noGrp="1"/>
          </p:cNvSpPr>
          <p:nvPr>
            <p:ph type="subTitle" idx="1" hasCustomPrompt="1"/>
          </p:nvPr>
        </p:nvSpPr>
        <p:spPr>
          <a:xfrm>
            <a:off x="423985" y="2115976"/>
            <a:ext cx="2593022"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s-ES" dirty="0"/>
              <a:t>Haga </a:t>
            </a:r>
            <a:r>
              <a:rPr lang="en-US" dirty="0"/>
              <a:t>Click to add a subtitle</a:t>
            </a:r>
          </a:p>
        </p:txBody>
      </p:sp>
      <p:sp>
        <p:nvSpPr>
          <p:cNvPr id="11" name="Título 1">
            <a:extLst>
              <a:ext uri="{FF2B5EF4-FFF2-40B4-BE49-F238E27FC236}">
                <a16:creationId xmlns:a16="http://schemas.microsoft.com/office/drawing/2014/main" id="{18BAC8F4-287D-423D-999F-C4C983C33447}"/>
              </a:ext>
            </a:extLst>
          </p:cNvPr>
          <p:cNvSpPr>
            <a:spLocks noGrp="1"/>
          </p:cNvSpPr>
          <p:nvPr>
            <p:ph type="ctrTitle" hasCustomPrompt="1"/>
          </p:nvPr>
        </p:nvSpPr>
        <p:spPr>
          <a:xfrm>
            <a:off x="423986" y="873128"/>
            <a:ext cx="2107342" cy="1130731"/>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pic>
        <p:nvPicPr>
          <p:cNvPr id="12" name="Gráfico 11">
            <a:extLst>
              <a:ext uri="{FF2B5EF4-FFF2-40B4-BE49-F238E27FC236}">
                <a16:creationId xmlns:a16="http://schemas.microsoft.com/office/drawing/2014/main" id="{F3B9D313-2516-4CAE-86F3-95C2C33742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9981" y="273933"/>
            <a:ext cx="1031951" cy="190176"/>
          </a:xfrm>
          <a:prstGeom prst="rect">
            <a:avLst/>
          </a:prstGeom>
        </p:spPr>
      </p:pic>
    </p:spTree>
    <p:extLst>
      <p:ext uri="{BB962C8B-B14F-4D97-AF65-F5344CB8AC3E}">
        <p14:creationId xmlns:p14="http://schemas.microsoft.com/office/powerpoint/2010/main" val="3836123771"/>
      </p:ext>
    </p:extLst>
  </p:cSld>
  <p:clrMapOvr>
    <a:masterClrMapping/>
  </p:clrMapOvr>
  <p:extLst>
    <p:ext uri="{DCECCB84-F9BA-43D5-87BE-67443E8EF086}">
      <p15:sldGuideLst xmlns:p15="http://schemas.microsoft.com/office/powerpoint/2012/main">
        <p15:guide id="1" pos="2919"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ighlights 2">
    <p:spTree>
      <p:nvGrpSpPr>
        <p:cNvPr id="1" name=""/>
        <p:cNvGrpSpPr/>
        <p:nvPr/>
      </p:nvGrpSpPr>
      <p:grpSpPr>
        <a:xfrm>
          <a:off x="0" y="0"/>
          <a:ext cx="0" cy="0"/>
          <a:chOff x="0" y="0"/>
          <a:chExt cx="0" cy="0"/>
        </a:xfrm>
      </p:grpSpPr>
      <p:grpSp>
        <p:nvGrpSpPr>
          <p:cNvPr id="8" name="Grupo 7">
            <a:extLst>
              <a:ext uri="{FF2B5EF4-FFF2-40B4-BE49-F238E27FC236}">
                <a16:creationId xmlns:a16="http://schemas.microsoft.com/office/drawing/2014/main" id="{F44F3CA0-7517-8F4F-AF71-A5895CED3C96}"/>
              </a:ext>
            </a:extLst>
          </p:cNvPr>
          <p:cNvGrpSpPr/>
          <p:nvPr userDrawn="1"/>
        </p:nvGrpSpPr>
        <p:grpSpPr>
          <a:xfrm>
            <a:off x="4800602" y="0"/>
            <a:ext cx="7391399" cy="6858000"/>
            <a:chOff x="-756458" y="0"/>
            <a:chExt cx="4655357" cy="6858000"/>
          </a:xfrm>
          <a:solidFill>
            <a:schemeClr val="accent4"/>
          </a:solidFill>
        </p:grpSpPr>
        <p:sp>
          <p:nvSpPr>
            <p:cNvPr id="9" name="Rectángulo 8">
              <a:extLst>
                <a:ext uri="{FF2B5EF4-FFF2-40B4-BE49-F238E27FC236}">
                  <a16:creationId xmlns:a16="http://schemas.microsoft.com/office/drawing/2014/main" id="{6A766C2A-B08D-9F43-840E-38F5BC7BC304}"/>
                </a:ext>
              </a:extLst>
            </p:cNvPr>
            <p:cNvSpPr/>
            <p:nvPr userDrawn="1"/>
          </p:nvSpPr>
          <p:spPr>
            <a:xfrm>
              <a:off x="-756458" y="0"/>
              <a:ext cx="4655357"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sp>
          <p:nvSpPr>
            <p:cNvPr id="10" name="Rectángulo 9">
              <a:extLst>
                <a:ext uri="{FF2B5EF4-FFF2-40B4-BE49-F238E27FC236}">
                  <a16:creationId xmlns:a16="http://schemas.microsoft.com/office/drawing/2014/main" id="{409CD035-180A-0741-A5FA-BF96C110231A}"/>
                </a:ext>
              </a:extLst>
            </p:cNvPr>
            <p:cNvSpPr/>
            <p:nvPr userDrawn="1"/>
          </p:nvSpPr>
          <p:spPr>
            <a:xfrm>
              <a:off x="-756458" y="2273300"/>
              <a:ext cx="4069311" cy="45847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dirty="0"/>
            </a:p>
          </p:txBody>
        </p:sp>
      </p:grpSp>
      <p:sp>
        <p:nvSpPr>
          <p:cNvPr id="16" name="Subtítulo 2">
            <a:extLst>
              <a:ext uri="{FF2B5EF4-FFF2-40B4-BE49-F238E27FC236}">
                <a16:creationId xmlns:a16="http://schemas.microsoft.com/office/drawing/2014/main" id="{AF9BA34A-7FF8-4995-9217-09BBB6526127}"/>
              </a:ext>
            </a:extLst>
          </p:cNvPr>
          <p:cNvSpPr>
            <a:spLocks noGrp="1"/>
          </p:cNvSpPr>
          <p:nvPr>
            <p:ph type="subTitle" idx="1" hasCustomPrompt="1"/>
          </p:nvPr>
        </p:nvSpPr>
        <p:spPr>
          <a:xfrm>
            <a:off x="423985" y="2115976"/>
            <a:ext cx="2593022" cy="740103"/>
          </a:xfrm>
          <a:prstGeom prst="rect">
            <a:avLst/>
          </a:prstGeom>
        </p:spPr>
        <p:txBody>
          <a:bodyPr vert="horz" lIns="0" tIns="0" rIns="0" bIns="0" rtlCol="0" anchor="t" anchorCtr="0">
            <a:noAutofit/>
          </a:bodyPr>
          <a:lstStyle>
            <a:lvl1pPr marL="0" indent="0">
              <a:spcBef>
                <a:spcPts val="813"/>
              </a:spcBef>
              <a:buNone/>
              <a:defRPr lang="es-ES" sz="1600">
                <a:solidFill>
                  <a:schemeClr val="tx1"/>
                </a:solidFill>
                <a:latin typeface="Santander Headline" panose="020B0504020201020104" pitchFamily="34" charset="0"/>
                <a:ea typeface="+mj-ea"/>
                <a:cs typeface="Santander Headline Light" panose="020B0304020201010104" pitchFamily="34" charset="0"/>
              </a:defRPr>
            </a:lvl1pPr>
          </a:lstStyle>
          <a:p>
            <a:pPr lvl="0">
              <a:spcBef>
                <a:spcPct val="0"/>
              </a:spcBef>
            </a:pPr>
            <a:r>
              <a:rPr lang="es-ES" dirty="0"/>
              <a:t>Haga </a:t>
            </a:r>
            <a:r>
              <a:rPr lang="en-US" dirty="0"/>
              <a:t>Click to add a subtitle</a:t>
            </a:r>
          </a:p>
        </p:txBody>
      </p:sp>
      <p:sp>
        <p:nvSpPr>
          <p:cNvPr id="11" name="Título 1">
            <a:extLst>
              <a:ext uri="{FF2B5EF4-FFF2-40B4-BE49-F238E27FC236}">
                <a16:creationId xmlns:a16="http://schemas.microsoft.com/office/drawing/2014/main" id="{18BAC8F4-287D-423D-999F-C4C983C33447}"/>
              </a:ext>
            </a:extLst>
          </p:cNvPr>
          <p:cNvSpPr>
            <a:spLocks noGrp="1"/>
          </p:cNvSpPr>
          <p:nvPr>
            <p:ph type="ctrTitle" hasCustomPrompt="1"/>
          </p:nvPr>
        </p:nvSpPr>
        <p:spPr>
          <a:xfrm>
            <a:off x="423985" y="873128"/>
            <a:ext cx="2040435" cy="1130731"/>
          </a:xfrm>
          <a:prstGeom prst="rect">
            <a:avLst/>
          </a:prstGeom>
        </p:spPr>
        <p:txBody>
          <a:bodyPr lIns="0" tIns="0" rIns="0" bIns="0" anchor="t" anchorCtr="0">
            <a:noAutofit/>
          </a:bodyPr>
          <a:lstStyle>
            <a:lvl1pPr algn="l">
              <a:defRPr sz="4000">
                <a:solidFill>
                  <a:schemeClr val="accent2"/>
                </a:solidFill>
                <a:latin typeface="Santander Headline" panose="020B0504020201020104" pitchFamily="34" charset="0"/>
                <a:cs typeface="Santander Headline Light" panose="020B0304020201010104" pitchFamily="34" charset="0"/>
              </a:defRPr>
            </a:lvl1pPr>
          </a:lstStyle>
          <a:p>
            <a:r>
              <a:rPr lang="es-ES" dirty="0"/>
              <a:t>Click </a:t>
            </a:r>
            <a:r>
              <a:rPr lang="es-ES" dirty="0" err="1"/>
              <a:t>to</a:t>
            </a:r>
            <a:r>
              <a:rPr lang="es-ES" dirty="0"/>
              <a:t> </a:t>
            </a:r>
            <a:r>
              <a:rPr lang="es-ES" dirty="0" err="1"/>
              <a:t>add</a:t>
            </a:r>
            <a:r>
              <a:rPr lang="es-ES" dirty="0"/>
              <a:t> </a:t>
            </a:r>
            <a:r>
              <a:rPr lang="es-ES" dirty="0" err="1"/>
              <a:t>title</a:t>
            </a:r>
            <a:endParaRPr lang="es-ES" dirty="0"/>
          </a:p>
        </p:txBody>
      </p:sp>
    </p:spTree>
    <p:extLst>
      <p:ext uri="{BB962C8B-B14F-4D97-AF65-F5344CB8AC3E}">
        <p14:creationId xmlns:p14="http://schemas.microsoft.com/office/powerpoint/2010/main" val="31101234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Portada">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CD7C8FD9-0F64-E105-AD01-1E72322786E2}"/>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tretch>
            <a:fillRect/>
          </a:stretch>
        </p:blipFill>
        <p:spPr>
          <a:xfrm>
            <a:off x="0" y="234"/>
            <a:ext cx="12192000" cy="6857531"/>
          </a:xfrm>
          <a:prstGeom prst="rect">
            <a:avLst/>
          </a:prstGeom>
        </p:spPr>
      </p:pic>
      <p:sp>
        <p:nvSpPr>
          <p:cNvPr id="5" name="Rectángulo 4">
            <a:extLst>
              <a:ext uri="{FF2B5EF4-FFF2-40B4-BE49-F238E27FC236}">
                <a16:creationId xmlns:a16="http://schemas.microsoft.com/office/drawing/2014/main" id="{286D69F9-71BD-9003-8D06-90DB4A19F269}"/>
              </a:ext>
            </a:extLst>
          </p:cNvPr>
          <p:cNvSpPr/>
          <p:nvPr userDrawn="1"/>
        </p:nvSpPr>
        <p:spPr>
          <a:xfrm>
            <a:off x="0" y="0"/>
            <a:ext cx="12192000" cy="6858000"/>
          </a:xfrm>
          <a:prstGeom prst="rect">
            <a:avLst/>
          </a:prstGeom>
          <a:solidFill>
            <a:schemeClr val="accent1">
              <a:alpha val="3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Gráfico 20">
            <a:extLst>
              <a:ext uri="{FF2B5EF4-FFF2-40B4-BE49-F238E27FC236}">
                <a16:creationId xmlns:a16="http://schemas.microsoft.com/office/drawing/2014/main" id="{F3A5A4CB-DF0B-8DF6-EDF3-C701B5F0E494}"/>
              </a:ext>
            </a:extLst>
          </p:cNvPr>
          <p:cNvSpPr/>
          <p:nvPr userDrawn="1"/>
        </p:nvSpPr>
        <p:spPr>
          <a:xfrm>
            <a:off x="9424988" y="573088"/>
            <a:ext cx="2189162" cy="592518"/>
          </a:xfrm>
          <a:custGeom>
            <a:avLst/>
            <a:gdLst>
              <a:gd name="connsiteX0" fmla="*/ 391413 w 1715044"/>
              <a:gd name="connsiteY0" fmla="*/ 400655 h 464193"/>
              <a:gd name="connsiteX1" fmla="*/ 339050 w 1715044"/>
              <a:gd name="connsiteY1" fmla="*/ 400655 h 464193"/>
              <a:gd name="connsiteX2" fmla="*/ 329223 w 1715044"/>
              <a:gd name="connsiteY2" fmla="*/ 429284 h 464193"/>
              <a:gd name="connsiteX3" fmla="*/ 316682 w 1715044"/>
              <a:gd name="connsiteY3" fmla="*/ 429284 h 464193"/>
              <a:gd name="connsiteX4" fmla="*/ 357515 w 1715044"/>
              <a:gd name="connsiteY4" fmla="*/ 312708 h 464193"/>
              <a:gd name="connsiteX5" fmla="*/ 372433 w 1715044"/>
              <a:gd name="connsiteY5" fmla="*/ 311183 h 464193"/>
              <a:gd name="connsiteX6" fmla="*/ 413781 w 1715044"/>
              <a:gd name="connsiteY6" fmla="*/ 429284 h 464193"/>
              <a:gd name="connsiteX7" fmla="*/ 401240 w 1715044"/>
              <a:gd name="connsiteY7" fmla="*/ 429284 h 464193"/>
              <a:gd name="connsiteX8" fmla="*/ 391413 w 1715044"/>
              <a:gd name="connsiteY8" fmla="*/ 400655 h 464193"/>
              <a:gd name="connsiteX9" fmla="*/ 387688 w 1715044"/>
              <a:gd name="connsiteY9" fmla="*/ 389462 h 464193"/>
              <a:gd name="connsiteX10" fmla="*/ 365320 w 1715044"/>
              <a:gd name="connsiteY10" fmla="*/ 323546 h 464193"/>
              <a:gd name="connsiteX11" fmla="*/ 342793 w 1715044"/>
              <a:gd name="connsiteY11" fmla="*/ 389462 h 464193"/>
              <a:gd name="connsiteX12" fmla="*/ 387688 w 1715044"/>
              <a:gd name="connsiteY12" fmla="*/ 389462 h 464193"/>
              <a:gd name="connsiteX13" fmla="*/ 421231 w 1715044"/>
              <a:gd name="connsiteY13" fmla="*/ 424708 h 464193"/>
              <a:gd name="connsiteX14" fmla="*/ 422934 w 1715044"/>
              <a:gd name="connsiteY14" fmla="*/ 414366 h 464193"/>
              <a:gd name="connsiteX15" fmla="*/ 450553 w 1715044"/>
              <a:gd name="connsiteY15" fmla="*/ 420983 h 464193"/>
              <a:gd name="connsiteX16" fmla="*/ 471555 w 1715044"/>
              <a:gd name="connsiteY16" fmla="*/ 407253 h 464193"/>
              <a:gd name="connsiteX17" fmla="*/ 454100 w 1715044"/>
              <a:gd name="connsiteY17" fmla="*/ 390987 h 464193"/>
              <a:gd name="connsiteX18" fmla="*/ 446313 w 1715044"/>
              <a:gd name="connsiteY18" fmla="*/ 388610 h 464193"/>
              <a:gd name="connsiteX19" fmla="*/ 422934 w 1715044"/>
              <a:gd name="connsiteY19" fmla="*/ 362854 h 464193"/>
              <a:gd name="connsiteX20" fmla="*/ 453604 w 1715044"/>
              <a:gd name="connsiteY20" fmla="*/ 339812 h 464193"/>
              <a:gd name="connsiteX21" fmla="*/ 480371 w 1715044"/>
              <a:gd name="connsiteY21" fmla="*/ 344211 h 464193"/>
              <a:gd name="connsiteX22" fmla="*/ 478668 w 1715044"/>
              <a:gd name="connsiteY22" fmla="*/ 354216 h 464193"/>
              <a:gd name="connsiteX23" fmla="*/ 453923 w 1715044"/>
              <a:gd name="connsiteY23" fmla="*/ 349976 h 464193"/>
              <a:gd name="connsiteX24" fmla="*/ 434269 w 1715044"/>
              <a:gd name="connsiteY24" fmla="*/ 362517 h 464193"/>
              <a:gd name="connsiteX25" fmla="*/ 451386 w 1715044"/>
              <a:gd name="connsiteY25" fmla="*/ 378446 h 464193"/>
              <a:gd name="connsiteX26" fmla="*/ 459351 w 1715044"/>
              <a:gd name="connsiteY26" fmla="*/ 381160 h 464193"/>
              <a:gd name="connsiteX27" fmla="*/ 483067 w 1715044"/>
              <a:gd name="connsiteY27" fmla="*/ 406916 h 464193"/>
              <a:gd name="connsiteX28" fmla="*/ 450872 w 1715044"/>
              <a:gd name="connsiteY28" fmla="*/ 431306 h 464193"/>
              <a:gd name="connsiteX29" fmla="*/ 421231 w 1715044"/>
              <a:gd name="connsiteY29" fmla="*/ 424708 h 464193"/>
              <a:gd name="connsiteX30" fmla="*/ 495271 w 1715044"/>
              <a:gd name="connsiteY30" fmla="*/ 424708 h 464193"/>
              <a:gd name="connsiteX31" fmla="*/ 496974 w 1715044"/>
              <a:gd name="connsiteY31" fmla="*/ 414366 h 464193"/>
              <a:gd name="connsiteX32" fmla="*/ 524592 w 1715044"/>
              <a:gd name="connsiteY32" fmla="*/ 420983 h 464193"/>
              <a:gd name="connsiteX33" fmla="*/ 545594 w 1715044"/>
              <a:gd name="connsiteY33" fmla="*/ 407253 h 464193"/>
              <a:gd name="connsiteX34" fmla="*/ 528140 w 1715044"/>
              <a:gd name="connsiteY34" fmla="*/ 390987 h 464193"/>
              <a:gd name="connsiteX35" fmla="*/ 520353 w 1715044"/>
              <a:gd name="connsiteY35" fmla="*/ 388610 h 464193"/>
              <a:gd name="connsiteX36" fmla="*/ 496974 w 1715044"/>
              <a:gd name="connsiteY36" fmla="*/ 362854 h 464193"/>
              <a:gd name="connsiteX37" fmla="*/ 527643 w 1715044"/>
              <a:gd name="connsiteY37" fmla="*/ 339812 h 464193"/>
              <a:gd name="connsiteX38" fmla="*/ 554410 w 1715044"/>
              <a:gd name="connsiteY38" fmla="*/ 344211 h 464193"/>
              <a:gd name="connsiteX39" fmla="*/ 552708 w 1715044"/>
              <a:gd name="connsiteY39" fmla="*/ 354216 h 464193"/>
              <a:gd name="connsiteX40" fmla="*/ 527963 w 1715044"/>
              <a:gd name="connsiteY40" fmla="*/ 349976 h 464193"/>
              <a:gd name="connsiteX41" fmla="*/ 508309 w 1715044"/>
              <a:gd name="connsiteY41" fmla="*/ 362517 h 464193"/>
              <a:gd name="connsiteX42" fmla="*/ 525426 w 1715044"/>
              <a:gd name="connsiteY42" fmla="*/ 378446 h 464193"/>
              <a:gd name="connsiteX43" fmla="*/ 533391 w 1715044"/>
              <a:gd name="connsiteY43" fmla="*/ 381160 h 464193"/>
              <a:gd name="connsiteX44" fmla="*/ 557107 w 1715044"/>
              <a:gd name="connsiteY44" fmla="*/ 406916 h 464193"/>
              <a:gd name="connsiteX45" fmla="*/ 524912 w 1715044"/>
              <a:gd name="connsiteY45" fmla="*/ 431306 h 464193"/>
              <a:gd name="connsiteX46" fmla="*/ 495271 w 1715044"/>
              <a:gd name="connsiteY46" fmla="*/ 424708 h 464193"/>
              <a:gd name="connsiteX47" fmla="*/ 642854 w 1715044"/>
              <a:gd name="connsiteY47" fmla="*/ 389639 h 464193"/>
              <a:gd name="connsiteX48" fmla="*/ 580166 w 1715044"/>
              <a:gd name="connsiteY48" fmla="*/ 389639 h 464193"/>
              <a:gd name="connsiteX49" fmla="*/ 611687 w 1715044"/>
              <a:gd name="connsiteY49" fmla="*/ 420823 h 464193"/>
              <a:gd name="connsiteX50" fmla="*/ 640157 w 1715044"/>
              <a:gd name="connsiteY50" fmla="*/ 413533 h 464193"/>
              <a:gd name="connsiteX51" fmla="*/ 638295 w 1715044"/>
              <a:gd name="connsiteY51" fmla="*/ 424885 h 464193"/>
              <a:gd name="connsiteX52" fmla="*/ 611350 w 1715044"/>
              <a:gd name="connsiteY52" fmla="*/ 431324 h 464193"/>
              <a:gd name="connsiteX53" fmla="*/ 568140 w 1715044"/>
              <a:gd name="connsiteY53" fmla="*/ 385063 h 464193"/>
              <a:gd name="connsiteX54" fmla="*/ 607288 w 1715044"/>
              <a:gd name="connsiteY54" fmla="*/ 339830 h 464193"/>
              <a:gd name="connsiteX55" fmla="*/ 643545 w 1715044"/>
              <a:gd name="connsiteY55" fmla="*/ 379138 h 464193"/>
              <a:gd name="connsiteX56" fmla="*/ 642854 w 1715044"/>
              <a:gd name="connsiteY56" fmla="*/ 389639 h 464193"/>
              <a:gd name="connsiteX57" fmla="*/ 580166 w 1715044"/>
              <a:gd name="connsiteY57" fmla="*/ 378961 h 464193"/>
              <a:gd name="connsiteX58" fmla="*/ 631678 w 1715044"/>
              <a:gd name="connsiteY58" fmla="*/ 378961 h 464193"/>
              <a:gd name="connsiteX59" fmla="*/ 631678 w 1715044"/>
              <a:gd name="connsiteY59" fmla="*/ 378287 h 464193"/>
              <a:gd name="connsiteX60" fmla="*/ 606774 w 1715044"/>
              <a:gd name="connsiteY60" fmla="*/ 350154 h 464193"/>
              <a:gd name="connsiteX61" fmla="*/ 580166 w 1715044"/>
              <a:gd name="connsiteY61" fmla="*/ 378961 h 464193"/>
              <a:gd name="connsiteX62" fmla="*/ 704193 w 1715044"/>
              <a:gd name="connsiteY62" fmla="*/ 418446 h 464193"/>
              <a:gd name="connsiteX63" fmla="*/ 702667 w 1715044"/>
              <a:gd name="connsiteY63" fmla="*/ 428610 h 464193"/>
              <a:gd name="connsiteX64" fmla="*/ 687412 w 1715044"/>
              <a:gd name="connsiteY64" fmla="*/ 431324 h 464193"/>
              <a:gd name="connsiteX65" fmla="*/ 661142 w 1715044"/>
              <a:gd name="connsiteY65" fmla="*/ 404220 h 464193"/>
              <a:gd name="connsiteX66" fmla="*/ 661142 w 1715044"/>
              <a:gd name="connsiteY66" fmla="*/ 312903 h 464193"/>
              <a:gd name="connsiteX67" fmla="*/ 673009 w 1715044"/>
              <a:gd name="connsiteY67" fmla="*/ 311041 h 464193"/>
              <a:gd name="connsiteX68" fmla="*/ 673009 w 1715044"/>
              <a:gd name="connsiteY68" fmla="*/ 342384 h 464193"/>
              <a:gd name="connsiteX69" fmla="*/ 703678 w 1715044"/>
              <a:gd name="connsiteY69" fmla="*/ 342384 h 464193"/>
              <a:gd name="connsiteX70" fmla="*/ 702490 w 1715044"/>
              <a:gd name="connsiteY70" fmla="*/ 353063 h 464193"/>
              <a:gd name="connsiteX71" fmla="*/ 673009 w 1715044"/>
              <a:gd name="connsiteY71" fmla="*/ 353063 h 464193"/>
              <a:gd name="connsiteX72" fmla="*/ 673009 w 1715044"/>
              <a:gd name="connsiteY72" fmla="*/ 402872 h 464193"/>
              <a:gd name="connsiteX73" fmla="*/ 689452 w 1715044"/>
              <a:gd name="connsiteY73" fmla="*/ 421178 h 464193"/>
              <a:gd name="connsiteX74" fmla="*/ 704193 w 1715044"/>
              <a:gd name="connsiteY74" fmla="*/ 418446 h 464193"/>
              <a:gd name="connsiteX75" fmla="*/ 870241 w 1715044"/>
              <a:gd name="connsiteY75" fmla="*/ 429284 h 464193"/>
              <a:gd name="connsiteX76" fmla="*/ 857877 w 1715044"/>
              <a:gd name="connsiteY76" fmla="*/ 429284 h 464193"/>
              <a:gd name="connsiteX77" fmla="*/ 854312 w 1715044"/>
              <a:gd name="connsiteY77" fmla="*/ 376247 h 464193"/>
              <a:gd name="connsiteX78" fmla="*/ 851935 w 1715044"/>
              <a:gd name="connsiteY78" fmla="*/ 328797 h 464193"/>
              <a:gd name="connsiteX79" fmla="*/ 832103 w 1715044"/>
              <a:gd name="connsiteY79" fmla="*/ 380468 h 464193"/>
              <a:gd name="connsiteX80" fmla="*/ 812449 w 1715044"/>
              <a:gd name="connsiteY80" fmla="*/ 429266 h 464193"/>
              <a:gd name="connsiteX81" fmla="*/ 803474 w 1715044"/>
              <a:gd name="connsiteY81" fmla="*/ 429266 h 464193"/>
              <a:gd name="connsiteX82" fmla="*/ 782472 w 1715044"/>
              <a:gd name="connsiteY82" fmla="*/ 375892 h 464193"/>
              <a:gd name="connsiteX83" fmla="*/ 764858 w 1715044"/>
              <a:gd name="connsiteY83" fmla="*/ 328956 h 464193"/>
              <a:gd name="connsiteX84" fmla="*/ 761984 w 1715044"/>
              <a:gd name="connsiteY84" fmla="*/ 377240 h 464193"/>
              <a:gd name="connsiteX85" fmla="*/ 757922 w 1715044"/>
              <a:gd name="connsiteY85" fmla="*/ 429249 h 464193"/>
              <a:gd name="connsiteX86" fmla="*/ 745718 w 1715044"/>
              <a:gd name="connsiteY86" fmla="*/ 429249 h 464193"/>
              <a:gd name="connsiteX87" fmla="*/ 754871 w 1715044"/>
              <a:gd name="connsiteY87" fmla="*/ 312673 h 464193"/>
              <a:gd name="connsiteX88" fmla="*/ 769434 w 1715044"/>
              <a:gd name="connsiteY88" fmla="*/ 310810 h 464193"/>
              <a:gd name="connsiteX89" fmla="*/ 808228 w 1715044"/>
              <a:gd name="connsiteY89" fmla="*/ 410606 h 464193"/>
              <a:gd name="connsiteX90" fmla="*/ 846525 w 1715044"/>
              <a:gd name="connsiteY90" fmla="*/ 312673 h 464193"/>
              <a:gd name="connsiteX91" fmla="*/ 861443 w 1715044"/>
              <a:gd name="connsiteY91" fmla="*/ 310810 h 464193"/>
              <a:gd name="connsiteX92" fmla="*/ 870241 w 1715044"/>
              <a:gd name="connsiteY92" fmla="*/ 429284 h 464193"/>
              <a:gd name="connsiteX93" fmla="*/ 960369 w 1715044"/>
              <a:gd name="connsiteY93" fmla="*/ 344566 h 464193"/>
              <a:gd name="connsiteX94" fmla="*/ 960369 w 1715044"/>
              <a:gd name="connsiteY94" fmla="*/ 429284 h 464193"/>
              <a:gd name="connsiteX95" fmla="*/ 949354 w 1715044"/>
              <a:gd name="connsiteY95" fmla="*/ 429284 h 464193"/>
              <a:gd name="connsiteX96" fmla="*/ 949016 w 1715044"/>
              <a:gd name="connsiteY96" fmla="*/ 422686 h 464193"/>
              <a:gd name="connsiteX97" fmla="*/ 925974 w 1715044"/>
              <a:gd name="connsiteY97" fmla="*/ 431324 h 464193"/>
              <a:gd name="connsiteX98" fmla="*/ 887003 w 1715044"/>
              <a:gd name="connsiteY98" fmla="*/ 386251 h 464193"/>
              <a:gd name="connsiteX99" fmla="*/ 932076 w 1715044"/>
              <a:gd name="connsiteY99" fmla="*/ 339830 h 464193"/>
              <a:gd name="connsiteX100" fmla="*/ 960369 w 1715044"/>
              <a:gd name="connsiteY100" fmla="*/ 344566 h 464193"/>
              <a:gd name="connsiteX101" fmla="*/ 927003 w 1715044"/>
              <a:gd name="connsiteY101" fmla="*/ 421497 h 464193"/>
              <a:gd name="connsiteX102" fmla="*/ 948520 w 1715044"/>
              <a:gd name="connsiteY102" fmla="*/ 412859 h 464193"/>
              <a:gd name="connsiteX103" fmla="*/ 948520 w 1715044"/>
              <a:gd name="connsiteY103" fmla="*/ 352371 h 464193"/>
              <a:gd name="connsiteX104" fmla="*/ 932076 w 1715044"/>
              <a:gd name="connsiteY104" fmla="*/ 350331 h 464193"/>
              <a:gd name="connsiteX105" fmla="*/ 899030 w 1715044"/>
              <a:gd name="connsiteY105" fmla="*/ 386251 h 464193"/>
              <a:gd name="connsiteX106" fmla="*/ 927003 w 1715044"/>
              <a:gd name="connsiteY106" fmla="*/ 421497 h 464193"/>
              <a:gd name="connsiteX107" fmla="*/ 1053566 w 1715044"/>
              <a:gd name="connsiteY107" fmla="*/ 372007 h 464193"/>
              <a:gd name="connsiteX108" fmla="*/ 1053566 w 1715044"/>
              <a:gd name="connsiteY108" fmla="*/ 429284 h 464193"/>
              <a:gd name="connsiteX109" fmla="*/ 1041699 w 1715044"/>
              <a:gd name="connsiteY109" fmla="*/ 429284 h 464193"/>
              <a:gd name="connsiteX110" fmla="*/ 1041699 w 1715044"/>
              <a:gd name="connsiteY110" fmla="*/ 374225 h 464193"/>
              <a:gd name="connsiteX111" fmla="*/ 1014932 w 1715044"/>
              <a:gd name="connsiteY111" fmla="*/ 350331 h 464193"/>
              <a:gd name="connsiteX112" fmla="*/ 995278 w 1715044"/>
              <a:gd name="connsiteY112" fmla="*/ 352708 h 464193"/>
              <a:gd name="connsiteX113" fmla="*/ 995278 w 1715044"/>
              <a:gd name="connsiteY113" fmla="*/ 429284 h 464193"/>
              <a:gd name="connsiteX114" fmla="*/ 983411 w 1715044"/>
              <a:gd name="connsiteY114" fmla="*/ 429284 h 464193"/>
              <a:gd name="connsiteX115" fmla="*/ 983411 w 1715044"/>
              <a:gd name="connsiteY115" fmla="*/ 344566 h 464193"/>
              <a:gd name="connsiteX116" fmla="*/ 1015269 w 1715044"/>
              <a:gd name="connsiteY116" fmla="*/ 339830 h 464193"/>
              <a:gd name="connsiteX117" fmla="*/ 1053566 w 1715044"/>
              <a:gd name="connsiteY117" fmla="*/ 372007 h 464193"/>
              <a:gd name="connsiteX118" fmla="*/ 1144386 w 1715044"/>
              <a:gd name="connsiteY118" fmla="*/ 344566 h 464193"/>
              <a:gd name="connsiteX119" fmla="*/ 1144386 w 1715044"/>
              <a:gd name="connsiteY119" fmla="*/ 429284 h 464193"/>
              <a:gd name="connsiteX120" fmla="*/ 1133371 w 1715044"/>
              <a:gd name="connsiteY120" fmla="*/ 429284 h 464193"/>
              <a:gd name="connsiteX121" fmla="*/ 1133034 w 1715044"/>
              <a:gd name="connsiteY121" fmla="*/ 422686 h 464193"/>
              <a:gd name="connsiteX122" fmla="*/ 1109992 w 1715044"/>
              <a:gd name="connsiteY122" fmla="*/ 431324 h 464193"/>
              <a:gd name="connsiteX123" fmla="*/ 1071020 w 1715044"/>
              <a:gd name="connsiteY123" fmla="*/ 386251 h 464193"/>
              <a:gd name="connsiteX124" fmla="*/ 1116094 w 1715044"/>
              <a:gd name="connsiteY124" fmla="*/ 339830 h 464193"/>
              <a:gd name="connsiteX125" fmla="*/ 1144386 w 1715044"/>
              <a:gd name="connsiteY125" fmla="*/ 344566 h 464193"/>
              <a:gd name="connsiteX126" fmla="*/ 1111003 w 1715044"/>
              <a:gd name="connsiteY126" fmla="*/ 421497 h 464193"/>
              <a:gd name="connsiteX127" fmla="*/ 1132519 w 1715044"/>
              <a:gd name="connsiteY127" fmla="*/ 412859 h 464193"/>
              <a:gd name="connsiteX128" fmla="*/ 1132519 w 1715044"/>
              <a:gd name="connsiteY128" fmla="*/ 352371 h 464193"/>
              <a:gd name="connsiteX129" fmla="*/ 1116094 w 1715044"/>
              <a:gd name="connsiteY129" fmla="*/ 350331 h 464193"/>
              <a:gd name="connsiteX130" fmla="*/ 1083047 w 1715044"/>
              <a:gd name="connsiteY130" fmla="*/ 386251 h 464193"/>
              <a:gd name="connsiteX131" fmla="*/ 1111003 w 1715044"/>
              <a:gd name="connsiteY131" fmla="*/ 421497 h 464193"/>
              <a:gd name="connsiteX132" fmla="*/ 1236217 w 1715044"/>
              <a:gd name="connsiteY132" fmla="*/ 344566 h 464193"/>
              <a:gd name="connsiteX133" fmla="*/ 1236217 w 1715044"/>
              <a:gd name="connsiteY133" fmla="*/ 426074 h 464193"/>
              <a:gd name="connsiteX134" fmla="*/ 1195561 w 1715044"/>
              <a:gd name="connsiteY134" fmla="*/ 464193 h 464193"/>
              <a:gd name="connsiteX135" fmla="*/ 1170142 w 1715044"/>
              <a:gd name="connsiteY135" fmla="*/ 459280 h 464193"/>
              <a:gd name="connsiteX136" fmla="*/ 1171331 w 1715044"/>
              <a:gd name="connsiteY136" fmla="*/ 448779 h 464193"/>
              <a:gd name="connsiteX137" fmla="*/ 1195561 w 1715044"/>
              <a:gd name="connsiteY137" fmla="*/ 454029 h 464193"/>
              <a:gd name="connsiteX138" fmla="*/ 1224368 w 1715044"/>
              <a:gd name="connsiteY138" fmla="*/ 427599 h 464193"/>
              <a:gd name="connsiteX139" fmla="*/ 1224368 w 1715044"/>
              <a:gd name="connsiteY139" fmla="*/ 423023 h 464193"/>
              <a:gd name="connsiteX140" fmla="*/ 1201840 w 1715044"/>
              <a:gd name="connsiteY140" fmla="*/ 431324 h 464193"/>
              <a:gd name="connsiteX141" fmla="*/ 1162869 w 1715044"/>
              <a:gd name="connsiteY141" fmla="*/ 386251 h 464193"/>
              <a:gd name="connsiteX142" fmla="*/ 1207942 w 1715044"/>
              <a:gd name="connsiteY142" fmla="*/ 339830 h 464193"/>
              <a:gd name="connsiteX143" fmla="*/ 1236217 w 1715044"/>
              <a:gd name="connsiteY143" fmla="*/ 344566 h 464193"/>
              <a:gd name="connsiteX144" fmla="*/ 1224350 w 1715044"/>
              <a:gd name="connsiteY144" fmla="*/ 412841 h 464193"/>
              <a:gd name="connsiteX145" fmla="*/ 1224350 w 1715044"/>
              <a:gd name="connsiteY145" fmla="*/ 352353 h 464193"/>
              <a:gd name="connsiteX146" fmla="*/ 1207907 w 1715044"/>
              <a:gd name="connsiteY146" fmla="*/ 350313 h 464193"/>
              <a:gd name="connsiteX147" fmla="*/ 1174860 w 1715044"/>
              <a:gd name="connsiteY147" fmla="*/ 386233 h 464193"/>
              <a:gd name="connsiteX148" fmla="*/ 1202816 w 1715044"/>
              <a:gd name="connsiteY148" fmla="*/ 421479 h 464193"/>
              <a:gd name="connsiteX149" fmla="*/ 1224350 w 1715044"/>
              <a:gd name="connsiteY149" fmla="*/ 412841 h 464193"/>
              <a:gd name="connsiteX150" fmla="*/ 1325352 w 1715044"/>
              <a:gd name="connsiteY150" fmla="*/ 389639 h 464193"/>
              <a:gd name="connsiteX151" fmla="*/ 1262665 w 1715044"/>
              <a:gd name="connsiteY151" fmla="*/ 389639 h 464193"/>
              <a:gd name="connsiteX152" fmla="*/ 1294186 w 1715044"/>
              <a:gd name="connsiteY152" fmla="*/ 420823 h 464193"/>
              <a:gd name="connsiteX153" fmla="*/ 1322656 w 1715044"/>
              <a:gd name="connsiteY153" fmla="*/ 413533 h 464193"/>
              <a:gd name="connsiteX154" fmla="*/ 1320793 w 1715044"/>
              <a:gd name="connsiteY154" fmla="*/ 424885 h 464193"/>
              <a:gd name="connsiteX155" fmla="*/ 1293849 w 1715044"/>
              <a:gd name="connsiteY155" fmla="*/ 431324 h 464193"/>
              <a:gd name="connsiteX156" fmla="*/ 1250638 w 1715044"/>
              <a:gd name="connsiteY156" fmla="*/ 385063 h 464193"/>
              <a:gd name="connsiteX157" fmla="*/ 1289769 w 1715044"/>
              <a:gd name="connsiteY157" fmla="*/ 339830 h 464193"/>
              <a:gd name="connsiteX158" fmla="*/ 1326026 w 1715044"/>
              <a:gd name="connsiteY158" fmla="*/ 379138 h 464193"/>
              <a:gd name="connsiteX159" fmla="*/ 1325352 w 1715044"/>
              <a:gd name="connsiteY159" fmla="*/ 389639 h 464193"/>
              <a:gd name="connsiteX160" fmla="*/ 1262647 w 1715044"/>
              <a:gd name="connsiteY160" fmla="*/ 378961 h 464193"/>
              <a:gd name="connsiteX161" fmla="*/ 1314159 w 1715044"/>
              <a:gd name="connsiteY161" fmla="*/ 378961 h 464193"/>
              <a:gd name="connsiteX162" fmla="*/ 1314159 w 1715044"/>
              <a:gd name="connsiteY162" fmla="*/ 378287 h 464193"/>
              <a:gd name="connsiteX163" fmla="*/ 1289255 w 1715044"/>
              <a:gd name="connsiteY163" fmla="*/ 350154 h 464193"/>
              <a:gd name="connsiteX164" fmla="*/ 1262647 w 1715044"/>
              <a:gd name="connsiteY164" fmla="*/ 378961 h 464193"/>
              <a:gd name="connsiteX165" fmla="*/ 1470043 w 1715044"/>
              <a:gd name="connsiteY165" fmla="*/ 372007 h 464193"/>
              <a:gd name="connsiteX166" fmla="*/ 1470043 w 1715044"/>
              <a:gd name="connsiteY166" fmla="*/ 429284 h 464193"/>
              <a:gd name="connsiteX167" fmla="*/ 1458176 w 1715044"/>
              <a:gd name="connsiteY167" fmla="*/ 429284 h 464193"/>
              <a:gd name="connsiteX168" fmla="*/ 1458176 w 1715044"/>
              <a:gd name="connsiteY168" fmla="*/ 373888 h 464193"/>
              <a:gd name="connsiteX169" fmla="*/ 1433272 w 1715044"/>
              <a:gd name="connsiteY169" fmla="*/ 350331 h 464193"/>
              <a:gd name="connsiteX170" fmla="*/ 1410744 w 1715044"/>
              <a:gd name="connsiteY170" fmla="*/ 355245 h 464193"/>
              <a:gd name="connsiteX171" fmla="*/ 1413618 w 1715044"/>
              <a:gd name="connsiteY171" fmla="*/ 372025 h 464193"/>
              <a:gd name="connsiteX172" fmla="*/ 1413618 w 1715044"/>
              <a:gd name="connsiteY172" fmla="*/ 429302 h 464193"/>
              <a:gd name="connsiteX173" fmla="*/ 1401751 w 1715044"/>
              <a:gd name="connsiteY173" fmla="*/ 429302 h 464193"/>
              <a:gd name="connsiteX174" fmla="*/ 1401751 w 1715044"/>
              <a:gd name="connsiteY174" fmla="*/ 373550 h 464193"/>
              <a:gd name="connsiteX175" fmla="*/ 1376846 w 1715044"/>
              <a:gd name="connsiteY175" fmla="*/ 350331 h 464193"/>
              <a:gd name="connsiteX176" fmla="*/ 1356518 w 1715044"/>
              <a:gd name="connsiteY176" fmla="*/ 352708 h 464193"/>
              <a:gd name="connsiteX177" fmla="*/ 1356518 w 1715044"/>
              <a:gd name="connsiteY177" fmla="*/ 429284 h 464193"/>
              <a:gd name="connsiteX178" fmla="*/ 1344651 w 1715044"/>
              <a:gd name="connsiteY178" fmla="*/ 429284 h 464193"/>
              <a:gd name="connsiteX179" fmla="*/ 1344651 w 1715044"/>
              <a:gd name="connsiteY179" fmla="*/ 344566 h 464193"/>
              <a:gd name="connsiteX180" fmla="*/ 1378035 w 1715044"/>
              <a:gd name="connsiteY180" fmla="*/ 339830 h 464193"/>
              <a:gd name="connsiteX181" fmla="*/ 1404642 w 1715044"/>
              <a:gd name="connsiteY181" fmla="*/ 346943 h 464193"/>
              <a:gd name="connsiteX182" fmla="*/ 1434301 w 1715044"/>
              <a:gd name="connsiteY182" fmla="*/ 339830 h 464193"/>
              <a:gd name="connsiteX183" fmla="*/ 1470043 w 1715044"/>
              <a:gd name="connsiteY183" fmla="*/ 372007 h 464193"/>
              <a:gd name="connsiteX184" fmla="*/ 1561538 w 1715044"/>
              <a:gd name="connsiteY184" fmla="*/ 389639 h 464193"/>
              <a:gd name="connsiteX185" fmla="*/ 1498850 w 1715044"/>
              <a:gd name="connsiteY185" fmla="*/ 389639 h 464193"/>
              <a:gd name="connsiteX186" fmla="*/ 1530371 w 1715044"/>
              <a:gd name="connsiteY186" fmla="*/ 420823 h 464193"/>
              <a:gd name="connsiteX187" fmla="*/ 1558841 w 1715044"/>
              <a:gd name="connsiteY187" fmla="*/ 413533 h 464193"/>
              <a:gd name="connsiteX188" fmla="*/ 1556979 w 1715044"/>
              <a:gd name="connsiteY188" fmla="*/ 424885 h 464193"/>
              <a:gd name="connsiteX189" fmla="*/ 1530034 w 1715044"/>
              <a:gd name="connsiteY189" fmla="*/ 431324 h 464193"/>
              <a:gd name="connsiteX190" fmla="*/ 1486824 w 1715044"/>
              <a:gd name="connsiteY190" fmla="*/ 385063 h 464193"/>
              <a:gd name="connsiteX191" fmla="*/ 1525972 w 1715044"/>
              <a:gd name="connsiteY191" fmla="*/ 339830 h 464193"/>
              <a:gd name="connsiteX192" fmla="*/ 1562229 w 1715044"/>
              <a:gd name="connsiteY192" fmla="*/ 379138 h 464193"/>
              <a:gd name="connsiteX193" fmla="*/ 1561538 w 1715044"/>
              <a:gd name="connsiteY193" fmla="*/ 389639 h 464193"/>
              <a:gd name="connsiteX194" fmla="*/ 1498850 w 1715044"/>
              <a:gd name="connsiteY194" fmla="*/ 378961 h 464193"/>
              <a:gd name="connsiteX195" fmla="*/ 1550362 w 1715044"/>
              <a:gd name="connsiteY195" fmla="*/ 378961 h 464193"/>
              <a:gd name="connsiteX196" fmla="*/ 1550362 w 1715044"/>
              <a:gd name="connsiteY196" fmla="*/ 378287 h 464193"/>
              <a:gd name="connsiteX197" fmla="*/ 1525458 w 1715044"/>
              <a:gd name="connsiteY197" fmla="*/ 350154 h 464193"/>
              <a:gd name="connsiteX198" fmla="*/ 1498850 w 1715044"/>
              <a:gd name="connsiteY198" fmla="*/ 378961 h 464193"/>
              <a:gd name="connsiteX199" fmla="*/ 1650992 w 1715044"/>
              <a:gd name="connsiteY199" fmla="*/ 372007 h 464193"/>
              <a:gd name="connsiteX200" fmla="*/ 1650992 w 1715044"/>
              <a:gd name="connsiteY200" fmla="*/ 429284 h 464193"/>
              <a:gd name="connsiteX201" fmla="*/ 1639125 w 1715044"/>
              <a:gd name="connsiteY201" fmla="*/ 429284 h 464193"/>
              <a:gd name="connsiteX202" fmla="*/ 1639125 w 1715044"/>
              <a:gd name="connsiteY202" fmla="*/ 374225 h 464193"/>
              <a:gd name="connsiteX203" fmla="*/ 1612358 w 1715044"/>
              <a:gd name="connsiteY203" fmla="*/ 350331 h 464193"/>
              <a:gd name="connsiteX204" fmla="*/ 1592704 w 1715044"/>
              <a:gd name="connsiteY204" fmla="*/ 352708 h 464193"/>
              <a:gd name="connsiteX205" fmla="*/ 1592704 w 1715044"/>
              <a:gd name="connsiteY205" fmla="*/ 429284 h 464193"/>
              <a:gd name="connsiteX206" fmla="*/ 1580837 w 1715044"/>
              <a:gd name="connsiteY206" fmla="*/ 429284 h 464193"/>
              <a:gd name="connsiteX207" fmla="*/ 1580837 w 1715044"/>
              <a:gd name="connsiteY207" fmla="*/ 344566 h 464193"/>
              <a:gd name="connsiteX208" fmla="*/ 1612695 w 1715044"/>
              <a:gd name="connsiteY208" fmla="*/ 339830 h 464193"/>
              <a:gd name="connsiteX209" fmla="*/ 1650992 w 1715044"/>
              <a:gd name="connsiteY209" fmla="*/ 372007 h 464193"/>
              <a:gd name="connsiteX210" fmla="*/ 1715045 w 1715044"/>
              <a:gd name="connsiteY210" fmla="*/ 418446 h 464193"/>
              <a:gd name="connsiteX211" fmla="*/ 1713519 w 1715044"/>
              <a:gd name="connsiteY211" fmla="*/ 428610 h 464193"/>
              <a:gd name="connsiteX212" fmla="*/ 1698264 w 1715044"/>
              <a:gd name="connsiteY212" fmla="*/ 431324 h 464193"/>
              <a:gd name="connsiteX213" fmla="*/ 1671994 w 1715044"/>
              <a:gd name="connsiteY213" fmla="*/ 404220 h 464193"/>
              <a:gd name="connsiteX214" fmla="*/ 1671994 w 1715044"/>
              <a:gd name="connsiteY214" fmla="*/ 312903 h 464193"/>
              <a:gd name="connsiteX215" fmla="*/ 1683861 w 1715044"/>
              <a:gd name="connsiteY215" fmla="*/ 311041 h 464193"/>
              <a:gd name="connsiteX216" fmla="*/ 1683861 w 1715044"/>
              <a:gd name="connsiteY216" fmla="*/ 342384 h 464193"/>
              <a:gd name="connsiteX217" fmla="*/ 1714530 w 1715044"/>
              <a:gd name="connsiteY217" fmla="*/ 342384 h 464193"/>
              <a:gd name="connsiteX218" fmla="*/ 1713342 w 1715044"/>
              <a:gd name="connsiteY218" fmla="*/ 353063 h 464193"/>
              <a:gd name="connsiteX219" fmla="*/ 1683861 w 1715044"/>
              <a:gd name="connsiteY219" fmla="*/ 353063 h 464193"/>
              <a:gd name="connsiteX220" fmla="*/ 1683861 w 1715044"/>
              <a:gd name="connsiteY220" fmla="*/ 402872 h 464193"/>
              <a:gd name="connsiteX221" fmla="*/ 1700304 w 1715044"/>
              <a:gd name="connsiteY221" fmla="*/ 421178 h 464193"/>
              <a:gd name="connsiteX222" fmla="*/ 1715045 w 1715044"/>
              <a:gd name="connsiteY222" fmla="*/ 418446 h 464193"/>
              <a:gd name="connsiteX223" fmla="*/ 190935 w 1715044"/>
              <a:gd name="connsiteY223" fmla="*/ 116097 h 464193"/>
              <a:gd name="connsiteX224" fmla="*/ 183254 w 1715044"/>
              <a:gd name="connsiteY224" fmla="*/ 89720 h 464193"/>
              <a:gd name="connsiteX225" fmla="*/ 141534 w 1715044"/>
              <a:gd name="connsiteY225" fmla="*/ 17472 h 464193"/>
              <a:gd name="connsiteX226" fmla="*/ 134935 w 1715044"/>
              <a:gd name="connsiteY226" fmla="*/ 0 h 464193"/>
              <a:gd name="connsiteX227" fmla="*/ 133197 w 1715044"/>
              <a:gd name="connsiteY227" fmla="*/ 3016 h 464193"/>
              <a:gd name="connsiteX228" fmla="*/ 133197 w 1715044"/>
              <a:gd name="connsiteY228" fmla="*/ 60807 h 464193"/>
              <a:gd name="connsiteX229" fmla="*/ 166563 w 1715044"/>
              <a:gd name="connsiteY229" fmla="*/ 118598 h 464193"/>
              <a:gd name="connsiteX230" fmla="*/ 166563 w 1715044"/>
              <a:gd name="connsiteY230" fmla="*/ 176389 h 464193"/>
              <a:gd name="connsiteX231" fmla="*/ 164824 w 1715044"/>
              <a:gd name="connsiteY231" fmla="*/ 179405 h 464193"/>
              <a:gd name="connsiteX232" fmla="*/ 158226 w 1715044"/>
              <a:gd name="connsiteY232" fmla="*/ 161933 h 464193"/>
              <a:gd name="connsiteX233" fmla="*/ 127680 w 1715044"/>
              <a:gd name="connsiteY233" fmla="*/ 109037 h 464193"/>
              <a:gd name="connsiteX234" fmla="*/ 108168 w 1715044"/>
              <a:gd name="connsiteY234" fmla="*/ 75264 h 464193"/>
              <a:gd name="connsiteX235" fmla="*/ 101569 w 1715044"/>
              <a:gd name="connsiteY235" fmla="*/ 57791 h 464193"/>
              <a:gd name="connsiteX236" fmla="*/ 99831 w 1715044"/>
              <a:gd name="connsiteY236" fmla="*/ 60807 h 464193"/>
              <a:gd name="connsiteX237" fmla="*/ 99725 w 1715044"/>
              <a:gd name="connsiteY237" fmla="*/ 118421 h 464193"/>
              <a:gd name="connsiteX238" fmla="*/ 99725 w 1715044"/>
              <a:gd name="connsiteY238" fmla="*/ 118421 h 464193"/>
              <a:gd name="connsiteX239" fmla="*/ 133197 w 1715044"/>
              <a:gd name="connsiteY239" fmla="*/ 176389 h 464193"/>
              <a:gd name="connsiteX240" fmla="*/ 133197 w 1715044"/>
              <a:gd name="connsiteY240" fmla="*/ 234181 h 464193"/>
              <a:gd name="connsiteX241" fmla="*/ 131459 w 1715044"/>
              <a:gd name="connsiteY241" fmla="*/ 237196 h 464193"/>
              <a:gd name="connsiteX242" fmla="*/ 124860 w 1715044"/>
              <a:gd name="connsiteY242" fmla="*/ 219724 h 464193"/>
              <a:gd name="connsiteX243" fmla="*/ 83157 w 1715044"/>
              <a:gd name="connsiteY243" fmla="*/ 147494 h 464193"/>
              <a:gd name="connsiteX244" fmla="*/ 75476 w 1715044"/>
              <a:gd name="connsiteY244" fmla="*/ 116097 h 464193"/>
              <a:gd name="connsiteX245" fmla="*/ 0 w 1715044"/>
              <a:gd name="connsiteY245" fmla="*/ 181214 h 464193"/>
              <a:gd name="connsiteX246" fmla="*/ 133197 w 1715044"/>
              <a:gd name="connsiteY246" fmla="*/ 253462 h 464193"/>
              <a:gd name="connsiteX247" fmla="*/ 266394 w 1715044"/>
              <a:gd name="connsiteY247" fmla="*/ 181214 h 464193"/>
              <a:gd name="connsiteX248" fmla="*/ 190935 w 1715044"/>
              <a:gd name="connsiteY248" fmla="*/ 116097 h 464193"/>
              <a:gd name="connsiteX249" fmla="*/ 316682 w 1715044"/>
              <a:gd name="connsiteY249" fmla="*/ 239449 h 464193"/>
              <a:gd name="connsiteX250" fmla="*/ 321436 w 1715044"/>
              <a:gd name="connsiteY250" fmla="*/ 214172 h 464193"/>
              <a:gd name="connsiteX251" fmla="*/ 367218 w 1715044"/>
              <a:gd name="connsiteY251" fmla="*/ 223928 h 464193"/>
              <a:gd name="connsiteX252" fmla="*/ 403493 w 1715044"/>
              <a:gd name="connsiteY252" fmla="*/ 201667 h 464193"/>
              <a:gd name="connsiteX253" fmla="*/ 370464 w 1715044"/>
              <a:gd name="connsiteY253" fmla="*/ 170146 h 464193"/>
              <a:gd name="connsiteX254" fmla="*/ 357710 w 1715044"/>
              <a:gd name="connsiteY254" fmla="*/ 164647 h 464193"/>
              <a:gd name="connsiteX255" fmla="*/ 318172 w 1715044"/>
              <a:gd name="connsiteY255" fmla="*/ 114607 h 464193"/>
              <a:gd name="connsiteX256" fmla="*/ 378464 w 1715044"/>
              <a:gd name="connsiteY256" fmla="*/ 67813 h 464193"/>
              <a:gd name="connsiteX257" fmla="*/ 424247 w 1715044"/>
              <a:gd name="connsiteY257" fmla="*/ 75068 h 464193"/>
              <a:gd name="connsiteX258" fmla="*/ 419245 w 1715044"/>
              <a:gd name="connsiteY258" fmla="*/ 100097 h 464193"/>
              <a:gd name="connsiteX259" fmla="*/ 378216 w 1715044"/>
              <a:gd name="connsiteY259" fmla="*/ 92842 h 464193"/>
              <a:gd name="connsiteX260" fmla="*/ 346447 w 1715044"/>
              <a:gd name="connsiteY260" fmla="*/ 114607 h 464193"/>
              <a:gd name="connsiteX261" fmla="*/ 373710 w 1715044"/>
              <a:gd name="connsiteY261" fmla="*/ 142634 h 464193"/>
              <a:gd name="connsiteX262" fmla="*/ 387227 w 1715044"/>
              <a:gd name="connsiteY262" fmla="*/ 148381 h 464193"/>
              <a:gd name="connsiteX263" fmla="*/ 432264 w 1715044"/>
              <a:gd name="connsiteY263" fmla="*/ 200425 h 464193"/>
              <a:gd name="connsiteX264" fmla="*/ 367963 w 1715044"/>
              <a:gd name="connsiteY264" fmla="*/ 248957 h 464193"/>
              <a:gd name="connsiteX265" fmla="*/ 316682 w 1715044"/>
              <a:gd name="connsiteY265" fmla="*/ 239449 h 464193"/>
              <a:gd name="connsiteX266" fmla="*/ 566632 w 1715044"/>
              <a:gd name="connsiteY266" fmla="*/ 119840 h 464193"/>
              <a:gd name="connsiteX267" fmla="*/ 566632 w 1715044"/>
              <a:gd name="connsiteY267" fmla="*/ 244948 h 464193"/>
              <a:gd name="connsiteX268" fmla="*/ 541373 w 1715044"/>
              <a:gd name="connsiteY268" fmla="*/ 244948 h 464193"/>
              <a:gd name="connsiteX269" fmla="*/ 539865 w 1715044"/>
              <a:gd name="connsiteY269" fmla="*/ 229941 h 464193"/>
              <a:gd name="connsiteX270" fmla="*/ 504584 w 1715044"/>
              <a:gd name="connsiteY270" fmla="*/ 247946 h 464193"/>
              <a:gd name="connsiteX271" fmla="*/ 449542 w 1715044"/>
              <a:gd name="connsiteY271" fmla="*/ 181888 h 464193"/>
              <a:gd name="connsiteX272" fmla="*/ 519342 w 1715044"/>
              <a:gd name="connsiteY272" fmla="*/ 112833 h 464193"/>
              <a:gd name="connsiteX273" fmla="*/ 566632 w 1715044"/>
              <a:gd name="connsiteY273" fmla="*/ 119840 h 464193"/>
              <a:gd name="connsiteX274" fmla="*/ 539120 w 1715044"/>
              <a:gd name="connsiteY274" fmla="*/ 216425 h 464193"/>
              <a:gd name="connsiteX275" fmla="*/ 539120 w 1715044"/>
              <a:gd name="connsiteY275" fmla="*/ 137862 h 464193"/>
              <a:gd name="connsiteX276" fmla="*/ 519360 w 1715044"/>
              <a:gd name="connsiteY276" fmla="*/ 136354 h 464193"/>
              <a:gd name="connsiteX277" fmla="*/ 477568 w 1715044"/>
              <a:gd name="connsiteY277" fmla="*/ 181888 h 464193"/>
              <a:gd name="connsiteX278" fmla="*/ 512353 w 1715044"/>
              <a:gd name="connsiteY278" fmla="*/ 225418 h 464193"/>
              <a:gd name="connsiteX279" fmla="*/ 539120 w 1715044"/>
              <a:gd name="connsiteY279" fmla="*/ 216425 h 464193"/>
              <a:gd name="connsiteX280" fmla="*/ 707510 w 1715044"/>
              <a:gd name="connsiteY280" fmla="*/ 160886 h 464193"/>
              <a:gd name="connsiteX281" fmla="*/ 707510 w 1715044"/>
              <a:gd name="connsiteY281" fmla="*/ 244948 h 464193"/>
              <a:gd name="connsiteX282" fmla="*/ 679980 w 1715044"/>
              <a:gd name="connsiteY282" fmla="*/ 244948 h 464193"/>
              <a:gd name="connsiteX283" fmla="*/ 679980 w 1715044"/>
              <a:gd name="connsiteY283" fmla="*/ 165640 h 464193"/>
              <a:gd name="connsiteX284" fmla="*/ 645958 w 1715044"/>
              <a:gd name="connsiteY284" fmla="*/ 136372 h 464193"/>
              <a:gd name="connsiteX285" fmla="*/ 624193 w 1715044"/>
              <a:gd name="connsiteY285" fmla="*/ 138376 h 464193"/>
              <a:gd name="connsiteX286" fmla="*/ 624193 w 1715044"/>
              <a:gd name="connsiteY286" fmla="*/ 244966 h 464193"/>
              <a:gd name="connsiteX287" fmla="*/ 596663 w 1715044"/>
              <a:gd name="connsiteY287" fmla="*/ 244966 h 464193"/>
              <a:gd name="connsiteX288" fmla="*/ 596663 w 1715044"/>
              <a:gd name="connsiteY288" fmla="*/ 119840 h 464193"/>
              <a:gd name="connsiteX289" fmla="*/ 646703 w 1715044"/>
              <a:gd name="connsiteY289" fmla="*/ 112833 h 464193"/>
              <a:gd name="connsiteX290" fmla="*/ 707510 w 1715044"/>
              <a:gd name="connsiteY290" fmla="*/ 160886 h 464193"/>
              <a:gd name="connsiteX291" fmla="*/ 783820 w 1715044"/>
              <a:gd name="connsiteY291" fmla="*/ 224425 h 464193"/>
              <a:gd name="connsiteX292" fmla="*/ 805336 w 1715044"/>
              <a:gd name="connsiteY292" fmla="*/ 220664 h 464193"/>
              <a:gd name="connsiteX293" fmla="*/ 802090 w 1715044"/>
              <a:gd name="connsiteY293" fmla="*/ 243937 h 464193"/>
              <a:gd name="connsiteX294" fmla="*/ 778818 w 1715044"/>
              <a:gd name="connsiteY294" fmla="*/ 247946 h 464193"/>
              <a:gd name="connsiteX295" fmla="*/ 735039 w 1715044"/>
              <a:gd name="connsiteY295" fmla="*/ 205161 h 464193"/>
              <a:gd name="connsiteX296" fmla="*/ 735039 w 1715044"/>
              <a:gd name="connsiteY296" fmla="*/ 73809 h 464193"/>
              <a:gd name="connsiteX297" fmla="*/ 762569 w 1715044"/>
              <a:gd name="connsiteY297" fmla="*/ 69800 h 464193"/>
              <a:gd name="connsiteX298" fmla="*/ 762569 w 1715044"/>
              <a:gd name="connsiteY298" fmla="*/ 117090 h 464193"/>
              <a:gd name="connsiteX299" fmla="*/ 806099 w 1715044"/>
              <a:gd name="connsiteY299" fmla="*/ 117090 h 464193"/>
              <a:gd name="connsiteX300" fmla="*/ 803598 w 1715044"/>
              <a:gd name="connsiteY300" fmla="*/ 140611 h 464193"/>
              <a:gd name="connsiteX301" fmla="*/ 762569 w 1715044"/>
              <a:gd name="connsiteY301" fmla="*/ 140611 h 464193"/>
              <a:gd name="connsiteX302" fmla="*/ 762569 w 1715044"/>
              <a:gd name="connsiteY302" fmla="*/ 201915 h 464193"/>
              <a:gd name="connsiteX303" fmla="*/ 783820 w 1715044"/>
              <a:gd name="connsiteY303" fmla="*/ 224425 h 464193"/>
              <a:gd name="connsiteX304" fmla="*/ 931456 w 1715044"/>
              <a:gd name="connsiteY304" fmla="*/ 119840 h 464193"/>
              <a:gd name="connsiteX305" fmla="*/ 931456 w 1715044"/>
              <a:gd name="connsiteY305" fmla="*/ 244948 h 464193"/>
              <a:gd name="connsiteX306" fmla="*/ 906178 w 1715044"/>
              <a:gd name="connsiteY306" fmla="*/ 244948 h 464193"/>
              <a:gd name="connsiteX307" fmla="*/ 904671 w 1715044"/>
              <a:gd name="connsiteY307" fmla="*/ 229941 h 464193"/>
              <a:gd name="connsiteX308" fmla="*/ 869389 w 1715044"/>
              <a:gd name="connsiteY308" fmla="*/ 247946 h 464193"/>
              <a:gd name="connsiteX309" fmla="*/ 814347 w 1715044"/>
              <a:gd name="connsiteY309" fmla="*/ 181888 h 464193"/>
              <a:gd name="connsiteX310" fmla="*/ 884148 w 1715044"/>
              <a:gd name="connsiteY310" fmla="*/ 112833 h 464193"/>
              <a:gd name="connsiteX311" fmla="*/ 931456 w 1715044"/>
              <a:gd name="connsiteY311" fmla="*/ 119840 h 464193"/>
              <a:gd name="connsiteX312" fmla="*/ 903926 w 1715044"/>
              <a:gd name="connsiteY312" fmla="*/ 216425 h 464193"/>
              <a:gd name="connsiteX313" fmla="*/ 903926 w 1715044"/>
              <a:gd name="connsiteY313" fmla="*/ 137862 h 464193"/>
              <a:gd name="connsiteX314" fmla="*/ 884165 w 1715044"/>
              <a:gd name="connsiteY314" fmla="*/ 136354 h 464193"/>
              <a:gd name="connsiteX315" fmla="*/ 842374 w 1715044"/>
              <a:gd name="connsiteY315" fmla="*/ 181888 h 464193"/>
              <a:gd name="connsiteX316" fmla="*/ 877159 w 1715044"/>
              <a:gd name="connsiteY316" fmla="*/ 225418 h 464193"/>
              <a:gd name="connsiteX317" fmla="*/ 903926 w 1715044"/>
              <a:gd name="connsiteY317" fmla="*/ 216425 h 464193"/>
              <a:gd name="connsiteX318" fmla="*/ 1072315 w 1715044"/>
              <a:gd name="connsiteY318" fmla="*/ 160886 h 464193"/>
              <a:gd name="connsiteX319" fmla="*/ 1072315 w 1715044"/>
              <a:gd name="connsiteY319" fmla="*/ 244948 h 464193"/>
              <a:gd name="connsiteX320" fmla="*/ 1044786 w 1715044"/>
              <a:gd name="connsiteY320" fmla="*/ 244948 h 464193"/>
              <a:gd name="connsiteX321" fmla="*/ 1044786 w 1715044"/>
              <a:gd name="connsiteY321" fmla="*/ 165640 h 464193"/>
              <a:gd name="connsiteX322" fmla="*/ 1010763 w 1715044"/>
              <a:gd name="connsiteY322" fmla="*/ 136372 h 464193"/>
              <a:gd name="connsiteX323" fmla="*/ 988999 w 1715044"/>
              <a:gd name="connsiteY323" fmla="*/ 138376 h 464193"/>
              <a:gd name="connsiteX324" fmla="*/ 988999 w 1715044"/>
              <a:gd name="connsiteY324" fmla="*/ 244966 h 464193"/>
              <a:gd name="connsiteX325" fmla="*/ 961469 w 1715044"/>
              <a:gd name="connsiteY325" fmla="*/ 244966 h 464193"/>
              <a:gd name="connsiteX326" fmla="*/ 961469 w 1715044"/>
              <a:gd name="connsiteY326" fmla="*/ 119840 h 464193"/>
              <a:gd name="connsiteX327" fmla="*/ 1011508 w 1715044"/>
              <a:gd name="connsiteY327" fmla="*/ 112833 h 464193"/>
              <a:gd name="connsiteX328" fmla="*/ 1072315 w 1715044"/>
              <a:gd name="connsiteY328" fmla="*/ 160886 h 464193"/>
              <a:gd name="connsiteX329" fmla="*/ 1211933 w 1715044"/>
              <a:gd name="connsiteY329" fmla="*/ 69800 h 464193"/>
              <a:gd name="connsiteX330" fmla="*/ 1211933 w 1715044"/>
              <a:gd name="connsiteY330" fmla="*/ 244930 h 464193"/>
              <a:gd name="connsiteX331" fmla="*/ 1186656 w 1715044"/>
              <a:gd name="connsiteY331" fmla="*/ 244930 h 464193"/>
              <a:gd name="connsiteX332" fmla="*/ 1185149 w 1715044"/>
              <a:gd name="connsiteY332" fmla="*/ 228913 h 464193"/>
              <a:gd name="connsiteX333" fmla="*/ 1149371 w 1715044"/>
              <a:gd name="connsiteY333" fmla="*/ 247928 h 464193"/>
              <a:gd name="connsiteX334" fmla="*/ 1094329 w 1715044"/>
              <a:gd name="connsiteY334" fmla="*/ 181871 h 464193"/>
              <a:gd name="connsiteX335" fmla="*/ 1164129 w 1715044"/>
              <a:gd name="connsiteY335" fmla="*/ 112815 h 464193"/>
              <a:gd name="connsiteX336" fmla="*/ 1184652 w 1715044"/>
              <a:gd name="connsiteY336" fmla="*/ 114820 h 464193"/>
              <a:gd name="connsiteX337" fmla="*/ 1184652 w 1715044"/>
              <a:gd name="connsiteY337" fmla="*/ 73561 h 464193"/>
              <a:gd name="connsiteX338" fmla="*/ 1211933 w 1715044"/>
              <a:gd name="connsiteY338" fmla="*/ 69800 h 464193"/>
              <a:gd name="connsiteX339" fmla="*/ 1184652 w 1715044"/>
              <a:gd name="connsiteY339" fmla="*/ 215928 h 464193"/>
              <a:gd name="connsiteX340" fmla="*/ 1184652 w 1715044"/>
              <a:gd name="connsiteY340" fmla="*/ 138855 h 464193"/>
              <a:gd name="connsiteX341" fmla="*/ 1162639 w 1715044"/>
              <a:gd name="connsiteY341" fmla="*/ 136354 h 464193"/>
              <a:gd name="connsiteX342" fmla="*/ 1122355 w 1715044"/>
              <a:gd name="connsiteY342" fmla="*/ 181888 h 464193"/>
              <a:gd name="connsiteX343" fmla="*/ 1157140 w 1715044"/>
              <a:gd name="connsiteY343" fmla="*/ 225418 h 464193"/>
              <a:gd name="connsiteX344" fmla="*/ 1184652 w 1715044"/>
              <a:gd name="connsiteY344" fmla="*/ 215928 h 464193"/>
              <a:gd name="connsiteX345" fmla="*/ 1350292 w 1715044"/>
              <a:gd name="connsiteY345" fmla="*/ 191396 h 464193"/>
              <a:gd name="connsiteX346" fmla="*/ 1262470 w 1715044"/>
              <a:gd name="connsiteY346" fmla="*/ 191396 h 464193"/>
              <a:gd name="connsiteX347" fmla="*/ 1303499 w 1715044"/>
              <a:gd name="connsiteY347" fmla="*/ 224425 h 464193"/>
              <a:gd name="connsiteX348" fmla="*/ 1347525 w 1715044"/>
              <a:gd name="connsiteY348" fmla="*/ 214917 h 464193"/>
              <a:gd name="connsiteX349" fmla="*/ 1343268 w 1715044"/>
              <a:gd name="connsiteY349" fmla="*/ 239928 h 464193"/>
              <a:gd name="connsiteX350" fmla="*/ 1302736 w 1715044"/>
              <a:gd name="connsiteY350" fmla="*/ 247928 h 464193"/>
              <a:gd name="connsiteX351" fmla="*/ 1234426 w 1715044"/>
              <a:gd name="connsiteY351" fmla="*/ 179618 h 464193"/>
              <a:gd name="connsiteX352" fmla="*/ 1295481 w 1715044"/>
              <a:gd name="connsiteY352" fmla="*/ 112815 h 464193"/>
              <a:gd name="connsiteX353" fmla="*/ 1351782 w 1715044"/>
              <a:gd name="connsiteY353" fmla="*/ 170110 h 464193"/>
              <a:gd name="connsiteX354" fmla="*/ 1350292 w 1715044"/>
              <a:gd name="connsiteY354" fmla="*/ 191396 h 464193"/>
              <a:gd name="connsiteX355" fmla="*/ 1261973 w 1715044"/>
              <a:gd name="connsiteY355" fmla="*/ 168390 h 464193"/>
              <a:gd name="connsiteX356" fmla="*/ 1324022 w 1715044"/>
              <a:gd name="connsiteY356" fmla="*/ 168390 h 464193"/>
              <a:gd name="connsiteX357" fmla="*/ 1293991 w 1715044"/>
              <a:gd name="connsiteY357" fmla="*/ 135858 h 464193"/>
              <a:gd name="connsiteX358" fmla="*/ 1261973 w 1715044"/>
              <a:gd name="connsiteY358" fmla="*/ 168390 h 464193"/>
              <a:gd name="connsiteX359" fmla="*/ 1446629 w 1715044"/>
              <a:gd name="connsiteY359" fmla="*/ 113844 h 464193"/>
              <a:gd name="connsiteX360" fmla="*/ 1444128 w 1715044"/>
              <a:gd name="connsiteY360" fmla="*/ 137365 h 464193"/>
              <a:gd name="connsiteX361" fmla="*/ 1423356 w 1715044"/>
              <a:gd name="connsiteY361" fmla="*/ 136372 h 464193"/>
              <a:gd name="connsiteX362" fmla="*/ 1403099 w 1715044"/>
              <a:gd name="connsiteY362" fmla="*/ 137880 h 464193"/>
              <a:gd name="connsiteX363" fmla="*/ 1403099 w 1715044"/>
              <a:gd name="connsiteY363" fmla="*/ 244966 h 464193"/>
              <a:gd name="connsiteX364" fmla="*/ 1375569 w 1715044"/>
              <a:gd name="connsiteY364" fmla="*/ 244966 h 464193"/>
              <a:gd name="connsiteX365" fmla="*/ 1375569 w 1715044"/>
              <a:gd name="connsiteY365" fmla="*/ 119840 h 464193"/>
              <a:gd name="connsiteX366" fmla="*/ 1422611 w 1715044"/>
              <a:gd name="connsiteY366" fmla="*/ 112833 h 464193"/>
              <a:gd name="connsiteX367" fmla="*/ 1446629 w 1715044"/>
              <a:gd name="connsiteY367" fmla="*/ 113844 h 46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Lst>
            <a:rect l="l" t="t" r="r" b="b"/>
            <a:pathLst>
              <a:path w="1715044" h="464193">
                <a:moveTo>
                  <a:pt x="391413" y="400655"/>
                </a:moveTo>
                <a:lnTo>
                  <a:pt x="339050" y="400655"/>
                </a:lnTo>
                <a:lnTo>
                  <a:pt x="329223" y="429284"/>
                </a:lnTo>
                <a:lnTo>
                  <a:pt x="316682" y="429284"/>
                </a:lnTo>
                <a:lnTo>
                  <a:pt x="357515" y="312708"/>
                </a:lnTo>
                <a:cubicBezTo>
                  <a:pt x="361755" y="311697"/>
                  <a:pt x="367342" y="311183"/>
                  <a:pt x="372433" y="311183"/>
                </a:cubicBezTo>
                <a:lnTo>
                  <a:pt x="413781" y="429284"/>
                </a:lnTo>
                <a:lnTo>
                  <a:pt x="401240" y="429284"/>
                </a:lnTo>
                <a:lnTo>
                  <a:pt x="391413" y="400655"/>
                </a:lnTo>
                <a:close/>
                <a:moveTo>
                  <a:pt x="387688" y="389462"/>
                </a:moveTo>
                <a:lnTo>
                  <a:pt x="365320" y="323546"/>
                </a:lnTo>
                <a:lnTo>
                  <a:pt x="342793" y="389462"/>
                </a:lnTo>
                <a:lnTo>
                  <a:pt x="387688" y="389462"/>
                </a:lnTo>
                <a:close/>
                <a:moveTo>
                  <a:pt x="421231" y="424708"/>
                </a:moveTo>
                <a:cubicBezTo>
                  <a:pt x="421409" y="419972"/>
                  <a:pt x="422083" y="416743"/>
                  <a:pt x="422934" y="414366"/>
                </a:cubicBezTo>
                <a:cubicBezTo>
                  <a:pt x="430899" y="418943"/>
                  <a:pt x="441914" y="420983"/>
                  <a:pt x="450553" y="420983"/>
                </a:cubicBezTo>
                <a:cubicBezTo>
                  <a:pt x="463590" y="420983"/>
                  <a:pt x="471555" y="416921"/>
                  <a:pt x="471555" y="407253"/>
                </a:cubicBezTo>
                <a:cubicBezTo>
                  <a:pt x="471555" y="397089"/>
                  <a:pt x="462242" y="393524"/>
                  <a:pt x="454100" y="390987"/>
                </a:cubicBezTo>
                <a:lnTo>
                  <a:pt x="446313" y="388610"/>
                </a:lnTo>
                <a:cubicBezTo>
                  <a:pt x="431236" y="384034"/>
                  <a:pt x="422934" y="376406"/>
                  <a:pt x="422934" y="362854"/>
                </a:cubicBezTo>
                <a:cubicBezTo>
                  <a:pt x="422934" y="347777"/>
                  <a:pt x="434464" y="339812"/>
                  <a:pt x="453604" y="339812"/>
                </a:cubicBezTo>
                <a:cubicBezTo>
                  <a:pt x="463431" y="339812"/>
                  <a:pt x="472584" y="341160"/>
                  <a:pt x="480371" y="344211"/>
                </a:cubicBezTo>
                <a:cubicBezTo>
                  <a:pt x="480193" y="347103"/>
                  <a:pt x="479697" y="350828"/>
                  <a:pt x="478668" y="354216"/>
                </a:cubicBezTo>
                <a:cubicBezTo>
                  <a:pt x="470881" y="351324"/>
                  <a:pt x="462224" y="349976"/>
                  <a:pt x="453923" y="349976"/>
                </a:cubicBezTo>
                <a:cubicBezTo>
                  <a:pt x="440868" y="349976"/>
                  <a:pt x="434269" y="354216"/>
                  <a:pt x="434269" y="362517"/>
                </a:cubicBezTo>
                <a:cubicBezTo>
                  <a:pt x="434269" y="372007"/>
                  <a:pt x="440885" y="374881"/>
                  <a:pt x="451386" y="378446"/>
                </a:cubicBezTo>
                <a:lnTo>
                  <a:pt x="459351" y="381160"/>
                </a:lnTo>
                <a:cubicBezTo>
                  <a:pt x="472743" y="385737"/>
                  <a:pt x="483067" y="392176"/>
                  <a:pt x="483067" y="406916"/>
                </a:cubicBezTo>
                <a:cubicBezTo>
                  <a:pt x="483067" y="422331"/>
                  <a:pt x="471200" y="431306"/>
                  <a:pt x="450872" y="431306"/>
                </a:cubicBezTo>
                <a:cubicBezTo>
                  <a:pt x="439023" y="431324"/>
                  <a:pt x="429196" y="429284"/>
                  <a:pt x="421231" y="424708"/>
                </a:cubicBezTo>
                <a:close/>
                <a:moveTo>
                  <a:pt x="495271" y="424708"/>
                </a:moveTo>
                <a:cubicBezTo>
                  <a:pt x="495431" y="419972"/>
                  <a:pt x="496122" y="416743"/>
                  <a:pt x="496974" y="414366"/>
                </a:cubicBezTo>
                <a:cubicBezTo>
                  <a:pt x="504938" y="418943"/>
                  <a:pt x="515954" y="420983"/>
                  <a:pt x="524592" y="420983"/>
                </a:cubicBezTo>
                <a:cubicBezTo>
                  <a:pt x="537648" y="420983"/>
                  <a:pt x="545594" y="416921"/>
                  <a:pt x="545594" y="407253"/>
                </a:cubicBezTo>
                <a:cubicBezTo>
                  <a:pt x="545594" y="397089"/>
                  <a:pt x="536282" y="393524"/>
                  <a:pt x="528140" y="390987"/>
                </a:cubicBezTo>
                <a:lnTo>
                  <a:pt x="520353" y="388610"/>
                </a:lnTo>
                <a:cubicBezTo>
                  <a:pt x="505275" y="384034"/>
                  <a:pt x="496974" y="376406"/>
                  <a:pt x="496974" y="362854"/>
                </a:cubicBezTo>
                <a:cubicBezTo>
                  <a:pt x="496974" y="347777"/>
                  <a:pt x="508504" y="339812"/>
                  <a:pt x="527643" y="339812"/>
                </a:cubicBezTo>
                <a:cubicBezTo>
                  <a:pt x="537470" y="339812"/>
                  <a:pt x="546623" y="341160"/>
                  <a:pt x="554410" y="344211"/>
                </a:cubicBezTo>
                <a:cubicBezTo>
                  <a:pt x="554233" y="347103"/>
                  <a:pt x="553736" y="350828"/>
                  <a:pt x="552708" y="354216"/>
                </a:cubicBezTo>
                <a:cubicBezTo>
                  <a:pt x="544920" y="351324"/>
                  <a:pt x="536264" y="349976"/>
                  <a:pt x="527963" y="349976"/>
                </a:cubicBezTo>
                <a:cubicBezTo>
                  <a:pt x="514925" y="349976"/>
                  <a:pt x="508309" y="354216"/>
                  <a:pt x="508309" y="362517"/>
                </a:cubicBezTo>
                <a:cubicBezTo>
                  <a:pt x="508309" y="372007"/>
                  <a:pt x="514925" y="374881"/>
                  <a:pt x="525426" y="378446"/>
                </a:cubicBezTo>
                <a:lnTo>
                  <a:pt x="533391" y="381160"/>
                </a:lnTo>
                <a:cubicBezTo>
                  <a:pt x="546783" y="385737"/>
                  <a:pt x="557107" y="392176"/>
                  <a:pt x="557107" y="406916"/>
                </a:cubicBezTo>
                <a:cubicBezTo>
                  <a:pt x="557107" y="422331"/>
                  <a:pt x="545240" y="431306"/>
                  <a:pt x="524912" y="431306"/>
                </a:cubicBezTo>
                <a:cubicBezTo>
                  <a:pt x="513062" y="431324"/>
                  <a:pt x="503235" y="429284"/>
                  <a:pt x="495271" y="424708"/>
                </a:cubicBezTo>
                <a:close/>
                <a:moveTo>
                  <a:pt x="642854" y="389639"/>
                </a:moveTo>
                <a:lnTo>
                  <a:pt x="580166" y="389639"/>
                </a:lnTo>
                <a:cubicBezTo>
                  <a:pt x="581692" y="409967"/>
                  <a:pt x="592370" y="420823"/>
                  <a:pt x="611687" y="420823"/>
                </a:cubicBezTo>
                <a:cubicBezTo>
                  <a:pt x="620840" y="420823"/>
                  <a:pt x="631004" y="418783"/>
                  <a:pt x="640157" y="413533"/>
                </a:cubicBezTo>
                <a:cubicBezTo>
                  <a:pt x="639820" y="416584"/>
                  <a:pt x="639146" y="421160"/>
                  <a:pt x="638295" y="424885"/>
                </a:cubicBezTo>
                <a:cubicBezTo>
                  <a:pt x="629816" y="429799"/>
                  <a:pt x="621018" y="431324"/>
                  <a:pt x="611350" y="431324"/>
                </a:cubicBezTo>
                <a:cubicBezTo>
                  <a:pt x="583058" y="431324"/>
                  <a:pt x="568140" y="414207"/>
                  <a:pt x="568140" y="385063"/>
                </a:cubicBezTo>
                <a:cubicBezTo>
                  <a:pt x="568140" y="359821"/>
                  <a:pt x="579492" y="339830"/>
                  <a:pt x="607288" y="339830"/>
                </a:cubicBezTo>
                <a:cubicBezTo>
                  <a:pt x="632707" y="339830"/>
                  <a:pt x="643545" y="357284"/>
                  <a:pt x="643545" y="379138"/>
                </a:cubicBezTo>
                <a:cubicBezTo>
                  <a:pt x="643528" y="382686"/>
                  <a:pt x="643368" y="386251"/>
                  <a:pt x="642854" y="389639"/>
                </a:cubicBezTo>
                <a:close/>
                <a:moveTo>
                  <a:pt x="580166" y="378961"/>
                </a:moveTo>
                <a:lnTo>
                  <a:pt x="631678" y="378961"/>
                </a:lnTo>
                <a:lnTo>
                  <a:pt x="631678" y="378287"/>
                </a:lnTo>
                <a:cubicBezTo>
                  <a:pt x="631678" y="361506"/>
                  <a:pt x="623554" y="350154"/>
                  <a:pt x="606774" y="350154"/>
                </a:cubicBezTo>
                <a:cubicBezTo>
                  <a:pt x="589816" y="350154"/>
                  <a:pt x="581514" y="361347"/>
                  <a:pt x="580166" y="378961"/>
                </a:cubicBezTo>
                <a:close/>
                <a:moveTo>
                  <a:pt x="704193" y="418446"/>
                </a:moveTo>
                <a:cubicBezTo>
                  <a:pt x="703856" y="421674"/>
                  <a:pt x="703341" y="425400"/>
                  <a:pt x="702667" y="428610"/>
                </a:cubicBezTo>
                <a:cubicBezTo>
                  <a:pt x="697576" y="430473"/>
                  <a:pt x="692663" y="431324"/>
                  <a:pt x="687412" y="431324"/>
                </a:cubicBezTo>
                <a:cubicBezTo>
                  <a:pt x="671146" y="431324"/>
                  <a:pt x="661142" y="423200"/>
                  <a:pt x="661142" y="404220"/>
                </a:cubicBezTo>
                <a:lnTo>
                  <a:pt x="661142" y="312903"/>
                </a:lnTo>
                <a:cubicBezTo>
                  <a:pt x="664707" y="311715"/>
                  <a:pt x="669443" y="311041"/>
                  <a:pt x="673009" y="311041"/>
                </a:cubicBezTo>
                <a:lnTo>
                  <a:pt x="673009" y="342384"/>
                </a:lnTo>
                <a:lnTo>
                  <a:pt x="703678" y="342384"/>
                </a:lnTo>
                <a:cubicBezTo>
                  <a:pt x="703501" y="346446"/>
                  <a:pt x="703164" y="349834"/>
                  <a:pt x="702490" y="353063"/>
                </a:cubicBezTo>
                <a:lnTo>
                  <a:pt x="673009" y="353063"/>
                </a:lnTo>
                <a:lnTo>
                  <a:pt x="673009" y="402872"/>
                </a:lnTo>
                <a:cubicBezTo>
                  <a:pt x="673009" y="415750"/>
                  <a:pt x="678933" y="421178"/>
                  <a:pt x="689452" y="421178"/>
                </a:cubicBezTo>
                <a:cubicBezTo>
                  <a:pt x="694188" y="421160"/>
                  <a:pt x="699616" y="420131"/>
                  <a:pt x="704193" y="418446"/>
                </a:cubicBezTo>
                <a:close/>
                <a:moveTo>
                  <a:pt x="870241" y="429284"/>
                </a:moveTo>
                <a:lnTo>
                  <a:pt x="857877" y="429284"/>
                </a:lnTo>
                <a:lnTo>
                  <a:pt x="854312" y="376247"/>
                </a:lnTo>
                <a:cubicBezTo>
                  <a:pt x="853301" y="359981"/>
                  <a:pt x="852449" y="344229"/>
                  <a:pt x="851935" y="328797"/>
                </a:cubicBezTo>
                <a:cubicBezTo>
                  <a:pt x="845673" y="346074"/>
                  <a:pt x="838720" y="364202"/>
                  <a:pt x="832103" y="380468"/>
                </a:cubicBezTo>
                <a:lnTo>
                  <a:pt x="812449" y="429266"/>
                </a:lnTo>
                <a:lnTo>
                  <a:pt x="803474" y="429266"/>
                </a:lnTo>
                <a:lnTo>
                  <a:pt x="782472" y="375892"/>
                </a:lnTo>
                <a:cubicBezTo>
                  <a:pt x="775855" y="359626"/>
                  <a:pt x="769771" y="343697"/>
                  <a:pt x="764858" y="328956"/>
                </a:cubicBezTo>
                <a:cubicBezTo>
                  <a:pt x="764183" y="343697"/>
                  <a:pt x="762995" y="361666"/>
                  <a:pt x="761984" y="377240"/>
                </a:cubicBezTo>
                <a:lnTo>
                  <a:pt x="757922" y="429249"/>
                </a:lnTo>
                <a:lnTo>
                  <a:pt x="745718" y="429249"/>
                </a:lnTo>
                <a:lnTo>
                  <a:pt x="754871" y="312673"/>
                </a:lnTo>
                <a:cubicBezTo>
                  <a:pt x="758773" y="311484"/>
                  <a:pt x="765709" y="310810"/>
                  <a:pt x="769434" y="310810"/>
                </a:cubicBezTo>
                <a:lnTo>
                  <a:pt x="808228" y="410606"/>
                </a:lnTo>
                <a:lnTo>
                  <a:pt x="846525" y="312673"/>
                </a:lnTo>
                <a:cubicBezTo>
                  <a:pt x="850924" y="311147"/>
                  <a:pt x="857363" y="310810"/>
                  <a:pt x="861443" y="310810"/>
                </a:cubicBezTo>
                <a:lnTo>
                  <a:pt x="870241" y="429284"/>
                </a:lnTo>
                <a:close/>
                <a:moveTo>
                  <a:pt x="960369" y="344566"/>
                </a:moveTo>
                <a:lnTo>
                  <a:pt x="960369" y="429284"/>
                </a:lnTo>
                <a:lnTo>
                  <a:pt x="949354" y="429284"/>
                </a:lnTo>
                <a:lnTo>
                  <a:pt x="949016" y="422686"/>
                </a:lnTo>
                <a:cubicBezTo>
                  <a:pt x="943252" y="427776"/>
                  <a:pt x="935464" y="431324"/>
                  <a:pt x="925974" y="431324"/>
                </a:cubicBezTo>
                <a:cubicBezTo>
                  <a:pt x="901921" y="431324"/>
                  <a:pt x="887003" y="415235"/>
                  <a:pt x="887003" y="386251"/>
                </a:cubicBezTo>
                <a:cubicBezTo>
                  <a:pt x="887003" y="356433"/>
                  <a:pt x="901744" y="339830"/>
                  <a:pt x="932076" y="339830"/>
                </a:cubicBezTo>
                <a:cubicBezTo>
                  <a:pt x="942577" y="339830"/>
                  <a:pt x="951393" y="341178"/>
                  <a:pt x="960369" y="344566"/>
                </a:cubicBezTo>
                <a:close/>
                <a:moveTo>
                  <a:pt x="927003" y="421497"/>
                </a:moveTo>
                <a:cubicBezTo>
                  <a:pt x="935819" y="421497"/>
                  <a:pt x="942932" y="418269"/>
                  <a:pt x="948520" y="412859"/>
                </a:cubicBezTo>
                <a:lnTo>
                  <a:pt x="948520" y="352371"/>
                </a:lnTo>
                <a:cubicBezTo>
                  <a:pt x="943429" y="351023"/>
                  <a:pt x="938178" y="350331"/>
                  <a:pt x="932076" y="350331"/>
                </a:cubicBezTo>
                <a:cubicBezTo>
                  <a:pt x="909371" y="350331"/>
                  <a:pt x="899030" y="363546"/>
                  <a:pt x="899030" y="386251"/>
                </a:cubicBezTo>
                <a:cubicBezTo>
                  <a:pt x="899048" y="408105"/>
                  <a:pt x="908520" y="421497"/>
                  <a:pt x="927003" y="421497"/>
                </a:cubicBezTo>
                <a:close/>
                <a:moveTo>
                  <a:pt x="1053566" y="372007"/>
                </a:moveTo>
                <a:lnTo>
                  <a:pt x="1053566" y="429284"/>
                </a:lnTo>
                <a:lnTo>
                  <a:pt x="1041699" y="429284"/>
                </a:lnTo>
                <a:lnTo>
                  <a:pt x="1041699" y="374225"/>
                </a:lnTo>
                <a:cubicBezTo>
                  <a:pt x="1041699" y="358473"/>
                  <a:pt x="1035774" y="350331"/>
                  <a:pt x="1014932" y="350331"/>
                </a:cubicBezTo>
                <a:cubicBezTo>
                  <a:pt x="1008830" y="350331"/>
                  <a:pt x="1001717" y="351183"/>
                  <a:pt x="995278" y="352708"/>
                </a:cubicBezTo>
                <a:lnTo>
                  <a:pt x="995278" y="429284"/>
                </a:lnTo>
                <a:lnTo>
                  <a:pt x="983411" y="429284"/>
                </a:lnTo>
                <a:lnTo>
                  <a:pt x="983411" y="344566"/>
                </a:lnTo>
                <a:cubicBezTo>
                  <a:pt x="994764" y="341515"/>
                  <a:pt x="1005779" y="339830"/>
                  <a:pt x="1015269" y="339830"/>
                </a:cubicBezTo>
                <a:cubicBezTo>
                  <a:pt x="1043916" y="339830"/>
                  <a:pt x="1053566" y="351520"/>
                  <a:pt x="1053566" y="372007"/>
                </a:cubicBezTo>
                <a:close/>
                <a:moveTo>
                  <a:pt x="1144386" y="344566"/>
                </a:moveTo>
                <a:lnTo>
                  <a:pt x="1144386" y="429284"/>
                </a:lnTo>
                <a:lnTo>
                  <a:pt x="1133371" y="429284"/>
                </a:lnTo>
                <a:lnTo>
                  <a:pt x="1133034" y="422686"/>
                </a:lnTo>
                <a:cubicBezTo>
                  <a:pt x="1127269" y="427776"/>
                  <a:pt x="1119481" y="431324"/>
                  <a:pt x="1109992" y="431324"/>
                </a:cubicBezTo>
                <a:cubicBezTo>
                  <a:pt x="1085938" y="431324"/>
                  <a:pt x="1071020" y="415235"/>
                  <a:pt x="1071020" y="386251"/>
                </a:cubicBezTo>
                <a:cubicBezTo>
                  <a:pt x="1071020" y="356433"/>
                  <a:pt x="1085761" y="339830"/>
                  <a:pt x="1116094" y="339830"/>
                </a:cubicBezTo>
                <a:cubicBezTo>
                  <a:pt x="1126595" y="339830"/>
                  <a:pt x="1135411" y="341178"/>
                  <a:pt x="1144386" y="344566"/>
                </a:cubicBezTo>
                <a:close/>
                <a:moveTo>
                  <a:pt x="1111003" y="421497"/>
                </a:moveTo>
                <a:cubicBezTo>
                  <a:pt x="1119819" y="421497"/>
                  <a:pt x="1126932" y="418269"/>
                  <a:pt x="1132519" y="412859"/>
                </a:cubicBezTo>
                <a:lnTo>
                  <a:pt x="1132519" y="352371"/>
                </a:lnTo>
                <a:cubicBezTo>
                  <a:pt x="1127428" y="351023"/>
                  <a:pt x="1122178" y="350331"/>
                  <a:pt x="1116094" y="350331"/>
                </a:cubicBezTo>
                <a:cubicBezTo>
                  <a:pt x="1093389" y="350331"/>
                  <a:pt x="1083047" y="363546"/>
                  <a:pt x="1083047" y="386251"/>
                </a:cubicBezTo>
                <a:cubicBezTo>
                  <a:pt x="1083047" y="408105"/>
                  <a:pt x="1092537" y="421497"/>
                  <a:pt x="1111003" y="421497"/>
                </a:cubicBezTo>
                <a:close/>
                <a:moveTo>
                  <a:pt x="1236217" y="344566"/>
                </a:moveTo>
                <a:lnTo>
                  <a:pt x="1236217" y="426074"/>
                </a:lnTo>
                <a:cubicBezTo>
                  <a:pt x="1236217" y="449630"/>
                  <a:pt x="1223854" y="464193"/>
                  <a:pt x="1195561" y="464193"/>
                </a:cubicBezTo>
                <a:cubicBezTo>
                  <a:pt x="1186923" y="464193"/>
                  <a:pt x="1178107" y="462668"/>
                  <a:pt x="1170142" y="459280"/>
                </a:cubicBezTo>
                <a:cubicBezTo>
                  <a:pt x="1170142" y="456388"/>
                  <a:pt x="1170657" y="451830"/>
                  <a:pt x="1171331" y="448779"/>
                </a:cubicBezTo>
                <a:cubicBezTo>
                  <a:pt x="1179118" y="452504"/>
                  <a:pt x="1188608" y="454029"/>
                  <a:pt x="1195561" y="454029"/>
                </a:cubicBezTo>
                <a:cubicBezTo>
                  <a:pt x="1213867" y="454029"/>
                  <a:pt x="1224368" y="446579"/>
                  <a:pt x="1224368" y="427599"/>
                </a:cubicBezTo>
                <a:lnTo>
                  <a:pt x="1224368" y="423023"/>
                </a:lnTo>
                <a:cubicBezTo>
                  <a:pt x="1218781" y="427936"/>
                  <a:pt x="1211153" y="431324"/>
                  <a:pt x="1201840" y="431324"/>
                </a:cubicBezTo>
                <a:cubicBezTo>
                  <a:pt x="1177787" y="431324"/>
                  <a:pt x="1162869" y="415235"/>
                  <a:pt x="1162869" y="386251"/>
                </a:cubicBezTo>
                <a:cubicBezTo>
                  <a:pt x="1162869" y="356433"/>
                  <a:pt x="1177610" y="339830"/>
                  <a:pt x="1207942" y="339830"/>
                </a:cubicBezTo>
                <a:cubicBezTo>
                  <a:pt x="1218426" y="339830"/>
                  <a:pt x="1227242" y="341178"/>
                  <a:pt x="1236217" y="344566"/>
                </a:cubicBezTo>
                <a:close/>
                <a:moveTo>
                  <a:pt x="1224350" y="412841"/>
                </a:moveTo>
                <a:lnTo>
                  <a:pt x="1224350" y="352353"/>
                </a:lnTo>
                <a:cubicBezTo>
                  <a:pt x="1219259" y="351005"/>
                  <a:pt x="1214009" y="350313"/>
                  <a:pt x="1207907" y="350313"/>
                </a:cubicBezTo>
                <a:cubicBezTo>
                  <a:pt x="1185202" y="350313"/>
                  <a:pt x="1174860" y="363528"/>
                  <a:pt x="1174860" y="386233"/>
                </a:cubicBezTo>
                <a:cubicBezTo>
                  <a:pt x="1174860" y="408087"/>
                  <a:pt x="1184350" y="421479"/>
                  <a:pt x="1202816" y="421479"/>
                </a:cubicBezTo>
                <a:cubicBezTo>
                  <a:pt x="1211650" y="421497"/>
                  <a:pt x="1218763" y="418269"/>
                  <a:pt x="1224350" y="412841"/>
                </a:cubicBezTo>
                <a:close/>
                <a:moveTo>
                  <a:pt x="1325352" y="389639"/>
                </a:moveTo>
                <a:lnTo>
                  <a:pt x="1262665" y="389639"/>
                </a:lnTo>
                <a:cubicBezTo>
                  <a:pt x="1264191" y="409967"/>
                  <a:pt x="1274869" y="420823"/>
                  <a:pt x="1294186" y="420823"/>
                </a:cubicBezTo>
                <a:cubicBezTo>
                  <a:pt x="1303339" y="420823"/>
                  <a:pt x="1313503" y="418783"/>
                  <a:pt x="1322656" y="413533"/>
                </a:cubicBezTo>
                <a:cubicBezTo>
                  <a:pt x="1322319" y="416584"/>
                  <a:pt x="1321645" y="421160"/>
                  <a:pt x="1320793" y="424885"/>
                </a:cubicBezTo>
                <a:cubicBezTo>
                  <a:pt x="1312315" y="429799"/>
                  <a:pt x="1303516" y="431324"/>
                  <a:pt x="1293849" y="431324"/>
                </a:cubicBezTo>
                <a:cubicBezTo>
                  <a:pt x="1265556" y="431324"/>
                  <a:pt x="1250638" y="414207"/>
                  <a:pt x="1250638" y="385063"/>
                </a:cubicBezTo>
                <a:cubicBezTo>
                  <a:pt x="1250638" y="359821"/>
                  <a:pt x="1261991" y="339830"/>
                  <a:pt x="1289769" y="339830"/>
                </a:cubicBezTo>
                <a:cubicBezTo>
                  <a:pt x="1315188" y="339830"/>
                  <a:pt x="1326026" y="357284"/>
                  <a:pt x="1326026" y="379138"/>
                </a:cubicBezTo>
                <a:cubicBezTo>
                  <a:pt x="1326026" y="382686"/>
                  <a:pt x="1325849" y="386251"/>
                  <a:pt x="1325352" y="389639"/>
                </a:cubicBezTo>
                <a:close/>
                <a:moveTo>
                  <a:pt x="1262647" y="378961"/>
                </a:moveTo>
                <a:lnTo>
                  <a:pt x="1314159" y="378961"/>
                </a:lnTo>
                <a:lnTo>
                  <a:pt x="1314159" y="378287"/>
                </a:lnTo>
                <a:cubicBezTo>
                  <a:pt x="1314159" y="361506"/>
                  <a:pt x="1306017" y="350154"/>
                  <a:pt x="1289255" y="350154"/>
                </a:cubicBezTo>
                <a:cubicBezTo>
                  <a:pt x="1272315" y="350154"/>
                  <a:pt x="1264013" y="361347"/>
                  <a:pt x="1262647" y="378961"/>
                </a:cubicBezTo>
                <a:close/>
                <a:moveTo>
                  <a:pt x="1470043" y="372007"/>
                </a:moveTo>
                <a:lnTo>
                  <a:pt x="1470043" y="429284"/>
                </a:lnTo>
                <a:lnTo>
                  <a:pt x="1458176" y="429284"/>
                </a:lnTo>
                <a:lnTo>
                  <a:pt x="1458176" y="373888"/>
                </a:lnTo>
                <a:cubicBezTo>
                  <a:pt x="1458176" y="358473"/>
                  <a:pt x="1450726" y="350331"/>
                  <a:pt x="1433272" y="350331"/>
                </a:cubicBezTo>
                <a:cubicBezTo>
                  <a:pt x="1425485" y="350331"/>
                  <a:pt x="1417857" y="352194"/>
                  <a:pt x="1410744" y="355245"/>
                </a:cubicBezTo>
                <a:cubicBezTo>
                  <a:pt x="1412607" y="359644"/>
                  <a:pt x="1413618" y="365249"/>
                  <a:pt x="1413618" y="372025"/>
                </a:cubicBezTo>
                <a:lnTo>
                  <a:pt x="1413618" y="429302"/>
                </a:lnTo>
                <a:lnTo>
                  <a:pt x="1401751" y="429302"/>
                </a:lnTo>
                <a:lnTo>
                  <a:pt x="1401751" y="373550"/>
                </a:lnTo>
                <a:cubicBezTo>
                  <a:pt x="1401751" y="357107"/>
                  <a:pt x="1394975" y="350331"/>
                  <a:pt x="1376846" y="350331"/>
                </a:cubicBezTo>
                <a:cubicBezTo>
                  <a:pt x="1370407" y="350331"/>
                  <a:pt x="1363117" y="351183"/>
                  <a:pt x="1356518" y="352708"/>
                </a:cubicBezTo>
                <a:lnTo>
                  <a:pt x="1356518" y="429284"/>
                </a:lnTo>
                <a:lnTo>
                  <a:pt x="1344651" y="429284"/>
                </a:lnTo>
                <a:lnTo>
                  <a:pt x="1344651" y="344566"/>
                </a:lnTo>
                <a:cubicBezTo>
                  <a:pt x="1356004" y="341515"/>
                  <a:pt x="1367197" y="339830"/>
                  <a:pt x="1378035" y="339830"/>
                </a:cubicBezTo>
                <a:cubicBezTo>
                  <a:pt x="1389902" y="339830"/>
                  <a:pt x="1398700" y="342030"/>
                  <a:pt x="1404642" y="346943"/>
                </a:cubicBezTo>
                <a:cubicBezTo>
                  <a:pt x="1413955" y="342544"/>
                  <a:pt x="1423959" y="339830"/>
                  <a:pt x="1434301" y="339830"/>
                </a:cubicBezTo>
                <a:cubicBezTo>
                  <a:pt x="1459879" y="339830"/>
                  <a:pt x="1470043" y="351520"/>
                  <a:pt x="1470043" y="372007"/>
                </a:cubicBezTo>
                <a:close/>
                <a:moveTo>
                  <a:pt x="1561538" y="389639"/>
                </a:moveTo>
                <a:lnTo>
                  <a:pt x="1498850" y="389639"/>
                </a:lnTo>
                <a:cubicBezTo>
                  <a:pt x="1500376" y="409967"/>
                  <a:pt x="1511054" y="420823"/>
                  <a:pt x="1530371" y="420823"/>
                </a:cubicBezTo>
                <a:cubicBezTo>
                  <a:pt x="1539524" y="420823"/>
                  <a:pt x="1549688" y="418783"/>
                  <a:pt x="1558841" y="413533"/>
                </a:cubicBezTo>
                <a:cubicBezTo>
                  <a:pt x="1558504" y="416584"/>
                  <a:pt x="1557830" y="421160"/>
                  <a:pt x="1556979" y="424885"/>
                </a:cubicBezTo>
                <a:cubicBezTo>
                  <a:pt x="1548500" y="429799"/>
                  <a:pt x="1539702" y="431324"/>
                  <a:pt x="1530034" y="431324"/>
                </a:cubicBezTo>
                <a:cubicBezTo>
                  <a:pt x="1501742" y="431324"/>
                  <a:pt x="1486824" y="414207"/>
                  <a:pt x="1486824" y="385063"/>
                </a:cubicBezTo>
                <a:cubicBezTo>
                  <a:pt x="1486824" y="359821"/>
                  <a:pt x="1498176" y="339830"/>
                  <a:pt x="1525972" y="339830"/>
                </a:cubicBezTo>
                <a:cubicBezTo>
                  <a:pt x="1551391" y="339830"/>
                  <a:pt x="1562229" y="357284"/>
                  <a:pt x="1562229" y="379138"/>
                </a:cubicBezTo>
                <a:cubicBezTo>
                  <a:pt x="1562212" y="382686"/>
                  <a:pt x="1562052" y="386251"/>
                  <a:pt x="1561538" y="389639"/>
                </a:cubicBezTo>
                <a:close/>
                <a:moveTo>
                  <a:pt x="1498850" y="378961"/>
                </a:moveTo>
                <a:lnTo>
                  <a:pt x="1550362" y="378961"/>
                </a:lnTo>
                <a:lnTo>
                  <a:pt x="1550362" y="378287"/>
                </a:lnTo>
                <a:cubicBezTo>
                  <a:pt x="1550362" y="361506"/>
                  <a:pt x="1542238" y="350154"/>
                  <a:pt x="1525458" y="350154"/>
                </a:cubicBezTo>
                <a:cubicBezTo>
                  <a:pt x="1508500" y="350154"/>
                  <a:pt x="1500198" y="361347"/>
                  <a:pt x="1498850" y="378961"/>
                </a:cubicBezTo>
                <a:close/>
                <a:moveTo>
                  <a:pt x="1650992" y="372007"/>
                </a:moveTo>
                <a:lnTo>
                  <a:pt x="1650992" y="429284"/>
                </a:lnTo>
                <a:lnTo>
                  <a:pt x="1639125" y="429284"/>
                </a:lnTo>
                <a:lnTo>
                  <a:pt x="1639125" y="374225"/>
                </a:lnTo>
                <a:cubicBezTo>
                  <a:pt x="1639125" y="358473"/>
                  <a:pt x="1633200" y="350331"/>
                  <a:pt x="1612358" y="350331"/>
                </a:cubicBezTo>
                <a:cubicBezTo>
                  <a:pt x="1606256" y="350331"/>
                  <a:pt x="1599143" y="351183"/>
                  <a:pt x="1592704" y="352708"/>
                </a:cubicBezTo>
                <a:lnTo>
                  <a:pt x="1592704" y="429284"/>
                </a:lnTo>
                <a:lnTo>
                  <a:pt x="1580837" y="429284"/>
                </a:lnTo>
                <a:lnTo>
                  <a:pt x="1580837" y="344566"/>
                </a:lnTo>
                <a:cubicBezTo>
                  <a:pt x="1592189" y="341515"/>
                  <a:pt x="1603205" y="339830"/>
                  <a:pt x="1612695" y="339830"/>
                </a:cubicBezTo>
                <a:cubicBezTo>
                  <a:pt x="1641342" y="339830"/>
                  <a:pt x="1650992" y="351520"/>
                  <a:pt x="1650992" y="372007"/>
                </a:cubicBezTo>
                <a:close/>
                <a:moveTo>
                  <a:pt x="1715045" y="418446"/>
                </a:moveTo>
                <a:cubicBezTo>
                  <a:pt x="1714708" y="421674"/>
                  <a:pt x="1714193" y="425400"/>
                  <a:pt x="1713519" y="428610"/>
                </a:cubicBezTo>
                <a:cubicBezTo>
                  <a:pt x="1708428" y="430473"/>
                  <a:pt x="1703515" y="431324"/>
                  <a:pt x="1698264" y="431324"/>
                </a:cubicBezTo>
                <a:cubicBezTo>
                  <a:pt x="1681998" y="431324"/>
                  <a:pt x="1671994" y="423200"/>
                  <a:pt x="1671994" y="404220"/>
                </a:cubicBezTo>
                <a:lnTo>
                  <a:pt x="1671994" y="312903"/>
                </a:lnTo>
                <a:cubicBezTo>
                  <a:pt x="1675559" y="311715"/>
                  <a:pt x="1680295" y="311041"/>
                  <a:pt x="1683861" y="311041"/>
                </a:cubicBezTo>
                <a:lnTo>
                  <a:pt x="1683861" y="342384"/>
                </a:lnTo>
                <a:lnTo>
                  <a:pt x="1714530" y="342384"/>
                </a:lnTo>
                <a:cubicBezTo>
                  <a:pt x="1714353" y="346446"/>
                  <a:pt x="1714016" y="349834"/>
                  <a:pt x="1713342" y="353063"/>
                </a:cubicBezTo>
                <a:lnTo>
                  <a:pt x="1683861" y="353063"/>
                </a:lnTo>
                <a:lnTo>
                  <a:pt x="1683861" y="402872"/>
                </a:lnTo>
                <a:cubicBezTo>
                  <a:pt x="1683861" y="415750"/>
                  <a:pt x="1689785" y="421178"/>
                  <a:pt x="1700304" y="421178"/>
                </a:cubicBezTo>
                <a:cubicBezTo>
                  <a:pt x="1705058" y="421160"/>
                  <a:pt x="1710468" y="420131"/>
                  <a:pt x="1715045" y="418446"/>
                </a:cubicBezTo>
                <a:close/>
                <a:moveTo>
                  <a:pt x="190935" y="116097"/>
                </a:moveTo>
                <a:cubicBezTo>
                  <a:pt x="190545" y="106962"/>
                  <a:pt x="187990" y="97898"/>
                  <a:pt x="183254" y="89720"/>
                </a:cubicBezTo>
                <a:lnTo>
                  <a:pt x="141534" y="17472"/>
                </a:lnTo>
                <a:cubicBezTo>
                  <a:pt x="138359" y="11956"/>
                  <a:pt x="136159" y="6049"/>
                  <a:pt x="134935" y="0"/>
                </a:cubicBezTo>
                <a:lnTo>
                  <a:pt x="133197" y="3016"/>
                </a:lnTo>
                <a:cubicBezTo>
                  <a:pt x="122873" y="20896"/>
                  <a:pt x="122873" y="42927"/>
                  <a:pt x="133197" y="60807"/>
                </a:cubicBezTo>
                <a:lnTo>
                  <a:pt x="166563" y="118598"/>
                </a:lnTo>
                <a:cubicBezTo>
                  <a:pt x="176886" y="136478"/>
                  <a:pt x="176886" y="158509"/>
                  <a:pt x="166563" y="176389"/>
                </a:cubicBezTo>
                <a:lnTo>
                  <a:pt x="164824" y="179405"/>
                </a:lnTo>
                <a:cubicBezTo>
                  <a:pt x="163600" y="173356"/>
                  <a:pt x="161401" y="167449"/>
                  <a:pt x="158226" y="161933"/>
                </a:cubicBezTo>
                <a:lnTo>
                  <a:pt x="127680" y="109037"/>
                </a:lnTo>
                <a:lnTo>
                  <a:pt x="108168" y="75264"/>
                </a:lnTo>
                <a:cubicBezTo>
                  <a:pt x="104993" y="69747"/>
                  <a:pt x="102793" y="63858"/>
                  <a:pt x="101569" y="57791"/>
                </a:cubicBezTo>
                <a:lnTo>
                  <a:pt x="99831" y="60807"/>
                </a:lnTo>
                <a:cubicBezTo>
                  <a:pt x="89543" y="78634"/>
                  <a:pt x="89507" y="100576"/>
                  <a:pt x="99725" y="118421"/>
                </a:cubicBezTo>
                <a:lnTo>
                  <a:pt x="99725" y="118421"/>
                </a:lnTo>
                <a:lnTo>
                  <a:pt x="133197" y="176389"/>
                </a:lnTo>
                <a:cubicBezTo>
                  <a:pt x="143521" y="194270"/>
                  <a:pt x="143521" y="216301"/>
                  <a:pt x="133197" y="234181"/>
                </a:cubicBezTo>
                <a:lnTo>
                  <a:pt x="131459" y="237196"/>
                </a:lnTo>
                <a:cubicBezTo>
                  <a:pt x="130235" y="231148"/>
                  <a:pt x="128035" y="225241"/>
                  <a:pt x="124860" y="219724"/>
                </a:cubicBezTo>
                <a:lnTo>
                  <a:pt x="83157" y="147494"/>
                </a:lnTo>
                <a:cubicBezTo>
                  <a:pt x="77570" y="137809"/>
                  <a:pt x="75015" y="126900"/>
                  <a:pt x="75476" y="116097"/>
                </a:cubicBezTo>
                <a:cubicBezTo>
                  <a:pt x="30811" y="127769"/>
                  <a:pt x="0" y="152531"/>
                  <a:pt x="0" y="181214"/>
                </a:cubicBezTo>
                <a:cubicBezTo>
                  <a:pt x="0" y="221108"/>
                  <a:pt x="59636" y="253462"/>
                  <a:pt x="133197" y="253462"/>
                </a:cubicBezTo>
                <a:cubicBezTo>
                  <a:pt x="206758" y="253462"/>
                  <a:pt x="266394" y="221125"/>
                  <a:pt x="266394" y="181214"/>
                </a:cubicBezTo>
                <a:cubicBezTo>
                  <a:pt x="266394" y="152531"/>
                  <a:pt x="235582" y="127751"/>
                  <a:pt x="190935" y="116097"/>
                </a:cubicBezTo>
                <a:close/>
                <a:moveTo>
                  <a:pt x="316682" y="239449"/>
                </a:moveTo>
                <a:cubicBezTo>
                  <a:pt x="317178" y="229196"/>
                  <a:pt x="318686" y="222190"/>
                  <a:pt x="321436" y="214172"/>
                </a:cubicBezTo>
                <a:cubicBezTo>
                  <a:pt x="335449" y="220682"/>
                  <a:pt x="353453" y="223928"/>
                  <a:pt x="367218" y="223928"/>
                </a:cubicBezTo>
                <a:cubicBezTo>
                  <a:pt x="390491" y="223928"/>
                  <a:pt x="403493" y="216425"/>
                  <a:pt x="403493" y="201667"/>
                </a:cubicBezTo>
                <a:cubicBezTo>
                  <a:pt x="403493" y="187157"/>
                  <a:pt x="393985" y="180398"/>
                  <a:pt x="370464" y="170146"/>
                </a:cubicBezTo>
                <a:lnTo>
                  <a:pt x="357710" y="164647"/>
                </a:lnTo>
                <a:cubicBezTo>
                  <a:pt x="334189" y="154394"/>
                  <a:pt x="318172" y="141126"/>
                  <a:pt x="318172" y="114607"/>
                </a:cubicBezTo>
                <a:cubicBezTo>
                  <a:pt x="318172" y="86084"/>
                  <a:pt x="337932" y="67813"/>
                  <a:pt x="378464" y="67813"/>
                </a:cubicBezTo>
                <a:cubicBezTo>
                  <a:pt x="394730" y="67813"/>
                  <a:pt x="409985" y="70066"/>
                  <a:pt x="424247" y="75068"/>
                </a:cubicBezTo>
                <a:cubicBezTo>
                  <a:pt x="423502" y="85073"/>
                  <a:pt x="421746" y="92824"/>
                  <a:pt x="419245" y="100097"/>
                </a:cubicBezTo>
                <a:cubicBezTo>
                  <a:pt x="405728" y="95095"/>
                  <a:pt x="389728" y="92842"/>
                  <a:pt x="378216" y="92842"/>
                </a:cubicBezTo>
                <a:cubicBezTo>
                  <a:pt x="356451" y="92842"/>
                  <a:pt x="346447" y="101357"/>
                  <a:pt x="346447" y="114607"/>
                </a:cubicBezTo>
                <a:cubicBezTo>
                  <a:pt x="346447" y="127627"/>
                  <a:pt x="356203" y="135130"/>
                  <a:pt x="373710" y="142634"/>
                </a:cubicBezTo>
                <a:lnTo>
                  <a:pt x="387227" y="148381"/>
                </a:lnTo>
                <a:cubicBezTo>
                  <a:pt x="418996" y="161897"/>
                  <a:pt x="432264" y="176159"/>
                  <a:pt x="432264" y="200425"/>
                </a:cubicBezTo>
                <a:cubicBezTo>
                  <a:pt x="432264" y="229196"/>
                  <a:pt x="410500" y="248957"/>
                  <a:pt x="367963" y="248957"/>
                </a:cubicBezTo>
                <a:cubicBezTo>
                  <a:pt x="347458" y="248957"/>
                  <a:pt x="330695" y="245941"/>
                  <a:pt x="316682" y="239449"/>
                </a:cubicBezTo>
                <a:close/>
                <a:moveTo>
                  <a:pt x="566632" y="119840"/>
                </a:moveTo>
                <a:lnTo>
                  <a:pt x="566632" y="244948"/>
                </a:lnTo>
                <a:lnTo>
                  <a:pt x="541373" y="244948"/>
                </a:lnTo>
                <a:lnTo>
                  <a:pt x="539865" y="229941"/>
                </a:lnTo>
                <a:cubicBezTo>
                  <a:pt x="532858" y="240957"/>
                  <a:pt x="522109" y="247946"/>
                  <a:pt x="504584" y="247946"/>
                </a:cubicBezTo>
                <a:cubicBezTo>
                  <a:pt x="471555" y="247946"/>
                  <a:pt x="449542" y="223928"/>
                  <a:pt x="449542" y="181888"/>
                </a:cubicBezTo>
                <a:cubicBezTo>
                  <a:pt x="449542" y="137844"/>
                  <a:pt x="473063" y="112833"/>
                  <a:pt x="519342" y="112833"/>
                </a:cubicBezTo>
                <a:cubicBezTo>
                  <a:pt x="537364" y="112833"/>
                  <a:pt x="552122" y="114838"/>
                  <a:pt x="566632" y="119840"/>
                </a:cubicBezTo>
                <a:close/>
                <a:moveTo>
                  <a:pt x="539120" y="216425"/>
                </a:moveTo>
                <a:lnTo>
                  <a:pt x="539120" y="137862"/>
                </a:lnTo>
                <a:cubicBezTo>
                  <a:pt x="533373" y="136869"/>
                  <a:pt x="527111" y="136354"/>
                  <a:pt x="519360" y="136354"/>
                </a:cubicBezTo>
                <a:cubicBezTo>
                  <a:pt x="490836" y="136354"/>
                  <a:pt x="477568" y="153862"/>
                  <a:pt x="477568" y="181888"/>
                </a:cubicBezTo>
                <a:cubicBezTo>
                  <a:pt x="477568" y="207414"/>
                  <a:pt x="487821" y="225418"/>
                  <a:pt x="512353" y="225418"/>
                </a:cubicBezTo>
                <a:cubicBezTo>
                  <a:pt x="523102" y="225436"/>
                  <a:pt x="531865" y="221924"/>
                  <a:pt x="539120" y="216425"/>
                </a:cubicBezTo>
                <a:close/>
                <a:moveTo>
                  <a:pt x="707510" y="160886"/>
                </a:moveTo>
                <a:lnTo>
                  <a:pt x="707510" y="244948"/>
                </a:lnTo>
                <a:lnTo>
                  <a:pt x="679980" y="244948"/>
                </a:lnTo>
                <a:lnTo>
                  <a:pt x="679980" y="165640"/>
                </a:lnTo>
                <a:cubicBezTo>
                  <a:pt x="679980" y="145880"/>
                  <a:pt x="673470" y="136372"/>
                  <a:pt x="645958" y="136372"/>
                </a:cubicBezTo>
                <a:cubicBezTo>
                  <a:pt x="639448" y="136372"/>
                  <a:pt x="631696" y="137117"/>
                  <a:pt x="624193" y="138376"/>
                </a:cubicBezTo>
                <a:lnTo>
                  <a:pt x="624193" y="244966"/>
                </a:lnTo>
                <a:lnTo>
                  <a:pt x="596663" y="244966"/>
                </a:lnTo>
                <a:lnTo>
                  <a:pt x="596663" y="119840"/>
                </a:lnTo>
                <a:cubicBezTo>
                  <a:pt x="614171" y="115583"/>
                  <a:pt x="633435" y="112833"/>
                  <a:pt x="646703" y="112833"/>
                </a:cubicBezTo>
                <a:cubicBezTo>
                  <a:pt x="692751" y="112833"/>
                  <a:pt x="707510" y="130607"/>
                  <a:pt x="707510" y="160886"/>
                </a:cubicBezTo>
                <a:close/>
                <a:moveTo>
                  <a:pt x="783820" y="224425"/>
                </a:moveTo>
                <a:cubicBezTo>
                  <a:pt x="791820" y="224425"/>
                  <a:pt x="799341" y="222917"/>
                  <a:pt x="805336" y="220664"/>
                </a:cubicBezTo>
                <a:cubicBezTo>
                  <a:pt x="804591" y="228168"/>
                  <a:pt x="803580" y="236682"/>
                  <a:pt x="802090" y="243937"/>
                </a:cubicBezTo>
                <a:cubicBezTo>
                  <a:pt x="794587" y="246935"/>
                  <a:pt x="786587" y="247946"/>
                  <a:pt x="778818" y="247946"/>
                </a:cubicBezTo>
                <a:cubicBezTo>
                  <a:pt x="752050" y="247946"/>
                  <a:pt x="735039" y="235689"/>
                  <a:pt x="735039" y="205161"/>
                </a:cubicBezTo>
                <a:lnTo>
                  <a:pt x="735039" y="73809"/>
                </a:lnTo>
                <a:cubicBezTo>
                  <a:pt x="743554" y="71060"/>
                  <a:pt x="754055" y="69800"/>
                  <a:pt x="762569" y="69800"/>
                </a:cubicBezTo>
                <a:lnTo>
                  <a:pt x="762569" y="117090"/>
                </a:lnTo>
                <a:lnTo>
                  <a:pt x="806099" y="117090"/>
                </a:lnTo>
                <a:cubicBezTo>
                  <a:pt x="805602" y="125605"/>
                  <a:pt x="804857" y="133356"/>
                  <a:pt x="803598" y="140611"/>
                </a:cubicBezTo>
                <a:lnTo>
                  <a:pt x="762569" y="140611"/>
                </a:lnTo>
                <a:lnTo>
                  <a:pt x="762569" y="201915"/>
                </a:lnTo>
                <a:cubicBezTo>
                  <a:pt x="762552" y="218181"/>
                  <a:pt x="770569" y="224425"/>
                  <a:pt x="783820" y="224425"/>
                </a:cubicBezTo>
                <a:close/>
                <a:moveTo>
                  <a:pt x="931456" y="119840"/>
                </a:moveTo>
                <a:lnTo>
                  <a:pt x="931456" y="244948"/>
                </a:lnTo>
                <a:lnTo>
                  <a:pt x="906178" y="244948"/>
                </a:lnTo>
                <a:lnTo>
                  <a:pt x="904671" y="229941"/>
                </a:lnTo>
                <a:cubicBezTo>
                  <a:pt x="897664" y="240957"/>
                  <a:pt x="886915" y="247946"/>
                  <a:pt x="869389" y="247946"/>
                </a:cubicBezTo>
                <a:cubicBezTo>
                  <a:pt x="836361" y="247946"/>
                  <a:pt x="814347" y="223928"/>
                  <a:pt x="814347" y="181888"/>
                </a:cubicBezTo>
                <a:cubicBezTo>
                  <a:pt x="814347" y="137844"/>
                  <a:pt x="837868" y="112833"/>
                  <a:pt x="884148" y="112833"/>
                </a:cubicBezTo>
                <a:cubicBezTo>
                  <a:pt x="902170" y="112833"/>
                  <a:pt x="916928" y="114838"/>
                  <a:pt x="931456" y="119840"/>
                </a:cubicBezTo>
                <a:close/>
                <a:moveTo>
                  <a:pt x="903926" y="216425"/>
                </a:moveTo>
                <a:lnTo>
                  <a:pt x="903926" y="137862"/>
                </a:lnTo>
                <a:cubicBezTo>
                  <a:pt x="898179" y="136869"/>
                  <a:pt x="891917" y="136354"/>
                  <a:pt x="884165" y="136354"/>
                </a:cubicBezTo>
                <a:cubicBezTo>
                  <a:pt x="855642" y="136354"/>
                  <a:pt x="842374" y="153862"/>
                  <a:pt x="842374" y="181888"/>
                </a:cubicBezTo>
                <a:cubicBezTo>
                  <a:pt x="842374" y="207414"/>
                  <a:pt x="852627" y="225418"/>
                  <a:pt x="877159" y="225418"/>
                </a:cubicBezTo>
                <a:cubicBezTo>
                  <a:pt x="887908" y="225436"/>
                  <a:pt x="896671" y="221924"/>
                  <a:pt x="903926" y="216425"/>
                </a:cubicBezTo>
                <a:close/>
                <a:moveTo>
                  <a:pt x="1072315" y="160886"/>
                </a:moveTo>
                <a:lnTo>
                  <a:pt x="1072315" y="244948"/>
                </a:lnTo>
                <a:lnTo>
                  <a:pt x="1044786" y="244948"/>
                </a:lnTo>
                <a:lnTo>
                  <a:pt x="1044786" y="165640"/>
                </a:lnTo>
                <a:cubicBezTo>
                  <a:pt x="1044786" y="145880"/>
                  <a:pt x="1038276" y="136372"/>
                  <a:pt x="1010763" y="136372"/>
                </a:cubicBezTo>
                <a:cubicBezTo>
                  <a:pt x="1004254" y="136372"/>
                  <a:pt x="996502" y="137117"/>
                  <a:pt x="988999" y="138376"/>
                </a:cubicBezTo>
                <a:lnTo>
                  <a:pt x="988999" y="244966"/>
                </a:lnTo>
                <a:lnTo>
                  <a:pt x="961469" y="244966"/>
                </a:lnTo>
                <a:lnTo>
                  <a:pt x="961469" y="119840"/>
                </a:lnTo>
                <a:cubicBezTo>
                  <a:pt x="978977" y="115583"/>
                  <a:pt x="998240" y="112833"/>
                  <a:pt x="1011508" y="112833"/>
                </a:cubicBezTo>
                <a:cubicBezTo>
                  <a:pt x="1057557" y="112833"/>
                  <a:pt x="1072315" y="130607"/>
                  <a:pt x="1072315" y="160886"/>
                </a:cubicBezTo>
                <a:close/>
                <a:moveTo>
                  <a:pt x="1211933" y="69800"/>
                </a:moveTo>
                <a:lnTo>
                  <a:pt x="1211933" y="244930"/>
                </a:lnTo>
                <a:lnTo>
                  <a:pt x="1186656" y="244930"/>
                </a:lnTo>
                <a:lnTo>
                  <a:pt x="1185149" y="228913"/>
                </a:lnTo>
                <a:cubicBezTo>
                  <a:pt x="1178142" y="240673"/>
                  <a:pt x="1167393" y="247928"/>
                  <a:pt x="1149371" y="247928"/>
                </a:cubicBezTo>
                <a:cubicBezTo>
                  <a:pt x="1116342" y="247928"/>
                  <a:pt x="1094329" y="223910"/>
                  <a:pt x="1094329" y="181871"/>
                </a:cubicBezTo>
                <a:cubicBezTo>
                  <a:pt x="1094329" y="137826"/>
                  <a:pt x="1117850" y="112815"/>
                  <a:pt x="1164129" y="112815"/>
                </a:cubicBezTo>
                <a:cubicBezTo>
                  <a:pt x="1171384" y="112815"/>
                  <a:pt x="1178142" y="113560"/>
                  <a:pt x="1184652" y="114820"/>
                </a:cubicBezTo>
                <a:lnTo>
                  <a:pt x="1184652" y="73561"/>
                </a:lnTo>
                <a:cubicBezTo>
                  <a:pt x="1193166" y="70563"/>
                  <a:pt x="1202922" y="69800"/>
                  <a:pt x="1211933" y="69800"/>
                </a:cubicBezTo>
                <a:close/>
                <a:moveTo>
                  <a:pt x="1184652" y="215928"/>
                </a:moveTo>
                <a:lnTo>
                  <a:pt x="1184652" y="138855"/>
                </a:lnTo>
                <a:cubicBezTo>
                  <a:pt x="1177397" y="137348"/>
                  <a:pt x="1169894" y="136354"/>
                  <a:pt x="1162639" y="136354"/>
                </a:cubicBezTo>
                <a:cubicBezTo>
                  <a:pt x="1135375" y="136354"/>
                  <a:pt x="1122355" y="153365"/>
                  <a:pt x="1122355" y="181888"/>
                </a:cubicBezTo>
                <a:cubicBezTo>
                  <a:pt x="1122355" y="207414"/>
                  <a:pt x="1132608" y="225418"/>
                  <a:pt x="1157140" y="225418"/>
                </a:cubicBezTo>
                <a:cubicBezTo>
                  <a:pt x="1168138" y="225436"/>
                  <a:pt x="1177149" y="221675"/>
                  <a:pt x="1184652" y="215928"/>
                </a:cubicBezTo>
                <a:close/>
                <a:moveTo>
                  <a:pt x="1350292" y="191396"/>
                </a:moveTo>
                <a:lnTo>
                  <a:pt x="1262470" y="191396"/>
                </a:lnTo>
                <a:cubicBezTo>
                  <a:pt x="1265964" y="213658"/>
                  <a:pt x="1278984" y="224425"/>
                  <a:pt x="1303499" y="224425"/>
                </a:cubicBezTo>
                <a:cubicBezTo>
                  <a:pt x="1318505" y="224425"/>
                  <a:pt x="1333778" y="221179"/>
                  <a:pt x="1347525" y="214917"/>
                </a:cubicBezTo>
                <a:cubicBezTo>
                  <a:pt x="1346532" y="222172"/>
                  <a:pt x="1345024" y="231680"/>
                  <a:pt x="1343268" y="239928"/>
                </a:cubicBezTo>
                <a:cubicBezTo>
                  <a:pt x="1330762" y="245675"/>
                  <a:pt x="1317494" y="247928"/>
                  <a:pt x="1302736" y="247928"/>
                </a:cubicBezTo>
                <a:cubicBezTo>
                  <a:pt x="1256705" y="247928"/>
                  <a:pt x="1234426" y="222403"/>
                  <a:pt x="1234426" y="179618"/>
                </a:cubicBezTo>
                <a:cubicBezTo>
                  <a:pt x="1234426" y="142332"/>
                  <a:pt x="1251685" y="112815"/>
                  <a:pt x="1295481" y="112815"/>
                </a:cubicBezTo>
                <a:cubicBezTo>
                  <a:pt x="1334753" y="112815"/>
                  <a:pt x="1351782" y="138589"/>
                  <a:pt x="1351782" y="170110"/>
                </a:cubicBezTo>
                <a:cubicBezTo>
                  <a:pt x="1351800" y="177897"/>
                  <a:pt x="1351303" y="184141"/>
                  <a:pt x="1350292" y="191396"/>
                </a:cubicBezTo>
                <a:close/>
                <a:moveTo>
                  <a:pt x="1261973" y="168390"/>
                </a:moveTo>
                <a:lnTo>
                  <a:pt x="1324022" y="168390"/>
                </a:lnTo>
                <a:cubicBezTo>
                  <a:pt x="1324022" y="147866"/>
                  <a:pt x="1313006" y="135858"/>
                  <a:pt x="1293991" y="135858"/>
                </a:cubicBezTo>
                <a:cubicBezTo>
                  <a:pt x="1274479" y="135858"/>
                  <a:pt x="1264226" y="147121"/>
                  <a:pt x="1261973" y="168390"/>
                </a:cubicBezTo>
                <a:close/>
                <a:moveTo>
                  <a:pt x="1446629" y="113844"/>
                </a:moveTo>
                <a:cubicBezTo>
                  <a:pt x="1446629" y="122110"/>
                  <a:pt x="1445635" y="132115"/>
                  <a:pt x="1444128" y="137365"/>
                </a:cubicBezTo>
                <a:cubicBezTo>
                  <a:pt x="1437618" y="136620"/>
                  <a:pt x="1431126" y="136372"/>
                  <a:pt x="1423356" y="136372"/>
                </a:cubicBezTo>
                <a:cubicBezTo>
                  <a:pt x="1416598" y="136372"/>
                  <a:pt x="1409840" y="136869"/>
                  <a:pt x="1403099" y="137880"/>
                </a:cubicBezTo>
                <a:lnTo>
                  <a:pt x="1403099" y="244966"/>
                </a:lnTo>
                <a:lnTo>
                  <a:pt x="1375569" y="244966"/>
                </a:lnTo>
                <a:lnTo>
                  <a:pt x="1375569" y="119840"/>
                </a:lnTo>
                <a:cubicBezTo>
                  <a:pt x="1387330" y="115831"/>
                  <a:pt x="1407090" y="112833"/>
                  <a:pt x="1422611" y="112833"/>
                </a:cubicBezTo>
                <a:cubicBezTo>
                  <a:pt x="1431108" y="112833"/>
                  <a:pt x="1440616" y="113099"/>
                  <a:pt x="1446629" y="113844"/>
                </a:cubicBezTo>
                <a:close/>
              </a:path>
            </a:pathLst>
          </a:custGeom>
          <a:solidFill>
            <a:schemeClr val="bg1"/>
          </a:solidFill>
          <a:ln w="1773" cap="flat">
            <a:noFill/>
            <a:prstDash val="solid"/>
            <a:miter/>
          </a:ln>
        </p:spPr>
        <p:txBody>
          <a:bodyPr rtlCol="0" anchor="ctr"/>
          <a:lstStyle/>
          <a:p>
            <a:endParaRPr lang="es-ES"/>
          </a:p>
        </p:txBody>
      </p:sp>
    </p:spTree>
    <p:extLst>
      <p:ext uri="{BB962C8B-B14F-4D97-AF65-F5344CB8AC3E}">
        <p14:creationId xmlns:p14="http://schemas.microsoft.com/office/powerpoint/2010/main" val="29152848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losing_DTB">
    <p:bg>
      <p:bgPr>
        <a:solidFill>
          <a:schemeClr val="accent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D39175EB-A6F1-4463-9476-78BB190E4B5E}"/>
              </a:ext>
            </a:extLst>
          </p:cNvPr>
          <p:cNvSpPr/>
          <p:nvPr userDrawn="1"/>
        </p:nvSpPr>
        <p:spPr>
          <a:xfrm>
            <a:off x="0" y="0"/>
            <a:ext cx="12192000" cy="698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a:p>
        </p:txBody>
      </p:sp>
      <p:sp>
        <p:nvSpPr>
          <p:cNvPr id="5" name="Marcador de texto 4">
            <a:extLst>
              <a:ext uri="{FF2B5EF4-FFF2-40B4-BE49-F238E27FC236}">
                <a16:creationId xmlns:a16="http://schemas.microsoft.com/office/drawing/2014/main" id="{8B2CE2F8-B113-49C1-8547-184D1781E7C5}"/>
              </a:ext>
            </a:extLst>
          </p:cNvPr>
          <p:cNvSpPr>
            <a:spLocks noGrp="1"/>
          </p:cNvSpPr>
          <p:nvPr>
            <p:ph type="body" sz="quarter" idx="49" hasCustomPrompt="1"/>
          </p:nvPr>
        </p:nvSpPr>
        <p:spPr>
          <a:xfrm>
            <a:off x="3832057" y="2966693"/>
            <a:ext cx="2111953" cy="619900"/>
          </a:xfrm>
          <a:prstGeom prst="rect">
            <a:avLst/>
          </a:prstGeom>
        </p:spPr>
        <p:txBody>
          <a:bodyPr lIns="0" tIns="0" rIns="0" bIns="0">
            <a:noAutofit/>
          </a:bodyPr>
          <a:lstStyle>
            <a:lvl1pPr marL="0" indent="0" algn="r">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Thank</a:t>
            </a:r>
            <a:r>
              <a:rPr lang="es-ES" dirty="0"/>
              <a:t> </a:t>
            </a:r>
            <a:r>
              <a:rPr lang="es-ES" dirty="0" err="1"/>
              <a:t>you</a:t>
            </a:r>
            <a:endParaRPr lang="es-ES" dirty="0"/>
          </a:p>
        </p:txBody>
      </p:sp>
      <p:cxnSp>
        <p:nvCxnSpPr>
          <p:cNvPr id="6" name="Conector recto 5">
            <a:extLst>
              <a:ext uri="{FF2B5EF4-FFF2-40B4-BE49-F238E27FC236}">
                <a16:creationId xmlns:a16="http://schemas.microsoft.com/office/drawing/2014/main" id="{49C53E21-99C2-4852-BA0C-70E066691AB7}"/>
              </a:ext>
            </a:extLst>
          </p:cNvPr>
          <p:cNvCxnSpPr>
            <a:cxnSpLocks/>
          </p:cNvCxnSpPr>
          <p:nvPr userDrawn="1"/>
        </p:nvCxnSpPr>
        <p:spPr>
          <a:xfrm>
            <a:off x="6116757" y="3109804"/>
            <a:ext cx="204065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FA9BDE23-23DF-4891-80AB-6B531FD95491}"/>
              </a:ext>
            </a:extLst>
          </p:cNvPr>
          <p:cNvCxnSpPr>
            <a:cxnSpLocks/>
          </p:cNvCxnSpPr>
          <p:nvPr userDrawn="1"/>
        </p:nvCxnSpPr>
        <p:spPr>
          <a:xfrm>
            <a:off x="3832058" y="3663874"/>
            <a:ext cx="225522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Marcador de texto 4">
            <a:extLst>
              <a:ext uri="{FF2B5EF4-FFF2-40B4-BE49-F238E27FC236}">
                <a16:creationId xmlns:a16="http://schemas.microsoft.com/office/drawing/2014/main" id="{97499DA0-FC3E-4270-9383-217F6E3C6CFE}"/>
              </a:ext>
            </a:extLst>
          </p:cNvPr>
          <p:cNvSpPr>
            <a:spLocks noGrp="1"/>
          </p:cNvSpPr>
          <p:nvPr>
            <p:ph type="body" sz="quarter" idx="50" hasCustomPrompt="1"/>
          </p:nvPr>
        </p:nvSpPr>
        <p:spPr>
          <a:xfrm>
            <a:off x="6247989" y="2376889"/>
            <a:ext cx="1909422"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r>
              <a:rPr lang="es-ES" sz="3600" dirty="0"/>
              <a:t>Gracias</a:t>
            </a:r>
          </a:p>
        </p:txBody>
      </p:sp>
      <p:pic>
        <p:nvPicPr>
          <p:cNvPr id="10" name="Gráfico 9">
            <a:extLst>
              <a:ext uri="{FF2B5EF4-FFF2-40B4-BE49-F238E27FC236}">
                <a16:creationId xmlns:a16="http://schemas.microsoft.com/office/drawing/2014/main" id="{0736881D-BBF2-444C-8441-265893FC95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83274" y="5925848"/>
            <a:ext cx="3181298" cy="549853"/>
          </a:xfrm>
          <a:prstGeom prst="rect">
            <a:avLst/>
          </a:prstGeom>
        </p:spPr>
      </p:pic>
    </p:spTree>
    <p:extLst>
      <p:ext uri="{BB962C8B-B14F-4D97-AF65-F5344CB8AC3E}">
        <p14:creationId xmlns:p14="http://schemas.microsoft.com/office/powerpoint/2010/main" val="420296397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menu01">
    <p:spTree>
      <p:nvGrpSpPr>
        <p:cNvPr id="1" name=""/>
        <p:cNvGrpSpPr/>
        <p:nvPr/>
      </p:nvGrpSpPr>
      <p:grpSpPr>
        <a:xfrm>
          <a:off x="0" y="0"/>
          <a:ext cx="0" cy="0"/>
          <a:chOff x="0" y="0"/>
          <a:chExt cx="0" cy="0"/>
        </a:xfrm>
      </p:grpSpPr>
      <p:sp>
        <p:nvSpPr>
          <p:cNvPr id="2" name="object 9">
            <a:extLst>
              <a:ext uri="{FF2B5EF4-FFF2-40B4-BE49-F238E27FC236}">
                <a16:creationId xmlns:a16="http://schemas.microsoft.com/office/drawing/2014/main" id="{0B429C32-CFE7-4D4D-92DC-A9FFC3742143}"/>
              </a:ext>
            </a:extLst>
          </p:cNvPr>
          <p:cNvSpPr txBox="1">
            <a:spLocks noGrp="1"/>
          </p:cNvSpPr>
          <p:nvPr>
            <p:ph type="sldNum" sz="quarter" idx="4"/>
          </p:nvPr>
        </p:nvSpPr>
        <p:spPr>
          <a:xfrm>
            <a:off x="180975" y="6455099"/>
            <a:ext cx="376239" cy="180177"/>
          </a:xfrm>
          <a:prstGeom prst="rect">
            <a:avLst/>
          </a:prstGeom>
        </p:spPr>
        <p:txBody>
          <a:bodyPr vert="horz" wrap="square" lIns="0" tIns="26034" rIns="0" bIns="0" rtlCol="0">
            <a:spAutoFit/>
          </a:bodyPr>
          <a:lstStyle>
            <a:lvl1pPr algn="r">
              <a:defRPr lang="es-ES" sz="1000" b="0" i="0" smtClean="0">
                <a:solidFill>
                  <a:srgbClr val="005370"/>
                </a:solidFill>
                <a:latin typeface="Santander Headline"/>
                <a:cs typeface="Santander Headline"/>
              </a:defRPr>
            </a:lvl1pPr>
          </a:lstStyle>
          <a:p>
            <a:pPr marL="107314">
              <a:spcBef>
                <a:spcPts val="204"/>
              </a:spcBef>
            </a:pPr>
            <a:fld id="{81D60167-4931-47E6-BA6A-407CBD079E47}" type="slidenum">
              <a:rPr lang="es-ES" smtClean="0"/>
              <a:pPr marL="107314">
                <a:spcBef>
                  <a:spcPts val="204"/>
                </a:spcBef>
              </a:pPr>
              <a:t>‹Nº›</a:t>
            </a:fld>
            <a:endParaRPr lang="es-ES" dirty="0"/>
          </a:p>
        </p:txBody>
      </p:sp>
    </p:spTree>
    <p:extLst>
      <p:ext uri="{BB962C8B-B14F-4D97-AF65-F5344CB8AC3E}">
        <p14:creationId xmlns:p14="http://schemas.microsoft.com/office/powerpoint/2010/main" val="121698631"/>
      </p:ext>
    </p:extLst>
  </p:cSld>
  <p:clrMapOvr>
    <a:masterClrMapping/>
  </p:clrMapOvr>
  <p:extLst>
    <p:ext uri="{DCECCB84-F9BA-43D5-87BE-67443E8EF086}">
      <p15:sldGuideLst xmlns:p15="http://schemas.microsoft.com/office/powerpoint/2012/main">
        <p15:guide id="2" pos="740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age with image_03 lines">
    <p:spTree>
      <p:nvGrpSpPr>
        <p:cNvPr id="1" name=""/>
        <p:cNvGrpSpPr/>
        <p:nvPr/>
      </p:nvGrpSpPr>
      <p:grpSpPr>
        <a:xfrm>
          <a:off x="0" y="0"/>
          <a:ext cx="0" cy="0"/>
          <a:chOff x="0" y="0"/>
          <a:chExt cx="0" cy="0"/>
        </a:xfrm>
      </p:grpSpPr>
      <p:pic>
        <p:nvPicPr>
          <p:cNvPr id="7" name="Imagen 6" descr="Imagen que contiene verde, alfombra&#10;&#10;Descripción generada automáticamente">
            <a:extLst>
              <a:ext uri="{FF2B5EF4-FFF2-40B4-BE49-F238E27FC236}">
                <a16:creationId xmlns:a16="http://schemas.microsoft.com/office/drawing/2014/main" id="{525BFB9F-A664-4A6B-8166-6B2BB3BBE4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53145"/>
            <a:ext cx="12191999" cy="5551712"/>
          </a:xfrm>
          <a:prstGeom prst="rect">
            <a:avLst/>
          </a:prstGeom>
        </p:spPr>
      </p:pic>
      <p:sp>
        <p:nvSpPr>
          <p:cNvPr id="10" name="Rectángulo 9">
            <a:extLst>
              <a:ext uri="{FF2B5EF4-FFF2-40B4-BE49-F238E27FC236}">
                <a16:creationId xmlns:a16="http://schemas.microsoft.com/office/drawing/2014/main" id="{BCC703BB-CD97-4DC0-9769-DBAED9EFB152}"/>
              </a:ext>
            </a:extLst>
          </p:cNvPr>
          <p:cNvSpPr/>
          <p:nvPr userDrawn="1"/>
        </p:nvSpPr>
        <p:spPr>
          <a:xfrm>
            <a:off x="0" y="653144"/>
            <a:ext cx="11955780" cy="5464174"/>
          </a:xfrm>
          <a:prstGeom prst="rect">
            <a:avLst/>
          </a:prstGeom>
          <a:gradFill flip="none" rotWithShape="1">
            <a:gsLst>
              <a:gs pos="54000">
                <a:schemeClr val="accent1">
                  <a:alpha val="36000"/>
                </a:schemeClr>
              </a:gs>
              <a:gs pos="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nvGrpSpPr>
          <p:cNvPr id="11" name="Grupo 10">
            <a:extLst>
              <a:ext uri="{FF2B5EF4-FFF2-40B4-BE49-F238E27FC236}">
                <a16:creationId xmlns:a16="http://schemas.microsoft.com/office/drawing/2014/main" id="{71E7C1E5-3C31-4DE9-A8EB-4D0E866E41C3}"/>
              </a:ext>
            </a:extLst>
          </p:cNvPr>
          <p:cNvGrpSpPr/>
          <p:nvPr userDrawn="1"/>
        </p:nvGrpSpPr>
        <p:grpSpPr>
          <a:xfrm>
            <a:off x="0" y="5283200"/>
            <a:ext cx="12192000" cy="1574800"/>
            <a:chOff x="0" y="5283200"/>
            <a:chExt cx="12192000" cy="1574800"/>
          </a:xfrm>
          <a:solidFill>
            <a:srgbClr val="F6F6F6"/>
          </a:solidFill>
        </p:grpSpPr>
        <p:sp>
          <p:nvSpPr>
            <p:cNvPr id="12" name="Rectángulo 11">
              <a:extLst>
                <a:ext uri="{FF2B5EF4-FFF2-40B4-BE49-F238E27FC236}">
                  <a16:creationId xmlns:a16="http://schemas.microsoft.com/office/drawing/2014/main" id="{05B3C424-DB64-4A80-ABDE-080E8220A3D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3" name="Rectángulo 12">
              <a:extLst>
                <a:ext uri="{FF2B5EF4-FFF2-40B4-BE49-F238E27FC236}">
                  <a16:creationId xmlns:a16="http://schemas.microsoft.com/office/drawing/2014/main" id="{02FC2C37-73FD-469E-AEEB-036833F3979F}"/>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8" name="Conector recto 7">
            <a:extLst>
              <a:ext uri="{FF2B5EF4-FFF2-40B4-BE49-F238E27FC236}">
                <a16:creationId xmlns:a16="http://schemas.microsoft.com/office/drawing/2014/main" id="{8BC40F42-C737-423E-8BCF-90CBAB91E4EE}"/>
              </a:ext>
            </a:extLst>
          </p:cNvPr>
          <p:cNvCxnSpPr>
            <a:cxnSpLocks/>
          </p:cNvCxnSpPr>
          <p:nvPr userDrawn="1"/>
        </p:nvCxnSpPr>
        <p:spPr>
          <a:xfrm>
            <a:off x="2115054" y="35309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BB381F8E-DC47-4F62-A060-8D0B3656EC4A}"/>
              </a:ext>
            </a:extLst>
          </p:cNvPr>
          <p:cNvCxnSpPr>
            <a:cxnSpLocks/>
          </p:cNvCxnSpPr>
          <p:nvPr userDrawn="1"/>
        </p:nvCxnSpPr>
        <p:spPr>
          <a:xfrm>
            <a:off x="6147198" y="30797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ítulo 1">
            <a:extLst>
              <a:ext uri="{FF2B5EF4-FFF2-40B4-BE49-F238E27FC236}">
                <a16:creationId xmlns:a16="http://schemas.microsoft.com/office/drawing/2014/main" id="{DC3012CF-A3F9-4E31-B261-1CE8089D2663}"/>
              </a:ext>
            </a:extLst>
          </p:cNvPr>
          <p:cNvSpPr>
            <a:spLocks noGrp="1"/>
          </p:cNvSpPr>
          <p:nvPr>
            <p:ph type="ctrTitle" hasCustomPrompt="1"/>
          </p:nvPr>
        </p:nvSpPr>
        <p:spPr>
          <a:xfrm>
            <a:off x="2115054" y="29267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a:t>
            </a:r>
            <a:r>
              <a:rPr lang="es-ES" dirty="0"/>
              <a:t> </a:t>
            </a:r>
            <a:r>
              <a:rPr lang="es-ES" dirty="0" err="1"/>
              <a:t>image</a:t>
            </a:r>
            <a:endParaRPr lang="es-ES" dirty="0"/>
          </a:p>
        </p:txBody>
      </p:sp>
      <p:sp>
        <p:nvSpPr>
          <p:cNvPr id="15" name="Marcador de texto 4">
            <a:extLst>
              <a:ext uri="{FF2B5EF4-FFF2-40B4-BE49-F238E27FC236}">
                <a16:creationId xmlns:a16="http://schemas.microsoft.com/office/drawing/2014/main" id="{E6E0B8DB-29B0-4CEE-8795-3BFF3B0207A3}"/>
              </a:ext>
            </a:extLst>
          </p:cNvPr>
          <p:cNvSpPr>
            <a:spLocks noGrp="1"/>
          </p:cNvSpPr>
          <p:nvPr>
            <p:ph type="body" sz="quarter" idx="47" hasCustomPrompt="1"/>
          </p:nvPr>
        </p:nvSpPr>
        <p:spPr>
          <a:xfrm>
            <a:off x="6295899" y="23588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2524052160"/>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age with image_05 lines">
    <p:spTree>
      <p:nvGrpSpPr>
        <p:cNvPr id="1" name=""/>
        <p:cNvGrpSpPr/>
        <p:nvPr/>
      </p:nvGrpSpPr>
      <p:grpSpPr>
        <a:xfrm>
          <a:off x="0" y="0"/>
          <a:ext cx="0" cy="0"/>
          <a:chOff x="0" y="0"/>
          <a:chExt cx="0" cy="0"/>
        </a:xfrm>
      </p:grpSpPr>
      <p:pic>
        <p:nvPicPr>
          <p:cNvPr id="8" name="Imagen 7" descr="Una persona hablando por teléfono en la calle&#10;&#10;Descripción generada automáticamente con confianza baja">
            <a:extLst>
              <a:ext uri="{FF2B5EF4-FFF2-40B4-BE49-F238E27FC236}">
                <a16:creationId xmlns:a16="http://schemas.microsoft.com/office/drawing/2014/main" id="{E846C4AB-7134-460E-A356-9F9CFC90B1D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37807"/>
            <a:ext cx="12182476" cy="5896344"/>
          </a:xfrm>
          <a:prstGeom prst="rect">
            <a:avLst/>
          </a:prstGeom>
        </p:spPr>
      </p:pic>
      <p:sp>
        <p:nvSpPr>
          <p:cNvPr id="10" name="Rectángulo 9">
            <a:extLst>
              <a:ext uri="{FF2B5EF4-FFF2-40B4-BE49-F238E27FC236}">
                <a16:creationId xmlns:a16="http://schemas.microsoft.com/office/drawing/2014/main" id="{89065A16-2004-462F-81B2-AEBBBA83A9E8}"/>
              </a:ext>
            </a:extLst>
          </p:cNvPr>
          <p:cNvSpPr/>
          <p:nvPr userDrawn="1"/>
        </p:nvSpPr>
        <p:spPr>
          <a:xfrm>
            <a:off x="-1" y="637807"/>
            <a:ext cx="12192001" cy="6220193"/>
          </a:xfrm>
          <a:prstGeom prst="rect">
            <a:avLst/>
          </a:prstGeom>
          <a:gradFill flip="none" rotWithShape="1">
            <a:gsLst>
              <a:gs pos="80000">
                <a:schemeClr val="accent1">
                  <a:alpha val="71000"/>
                </a:schemeClr>
              </a:gs>
              <a:gs pos="44000">
                <a:schemeClr val="accent4">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nvGrpSpPr>
          <p:cNvPr id="11" name="Grupo 10">
            <a:extLst>
              <a:ext uri="{FF2B5EF4-FFF2-40B4-BE49-F238E27FC236}">
                <a16:creationId xmlns:a16="http://schemas.microsoft.com/office/drawing/2014/main" id="{71E7C1E5-3C31-4DE9-A8EB-4D0E866E41C3}"/>
              </a:ext>
            </a:extLst>
          </p:cNvPr>
          <p:cNvGrpSpPr/>
          <p:nvPr userDrawn="1"/>
        </p:nvGrpSpPr>
        <p:grpSpPr>
          <a:xfrm>
            <a:off x="0" y="5283200"/>
            <a:ext cx="12192000" cy="1574800"/>
            <a:chOff x="0" y="5283200"/>
            <a:chExt cx="12192000" cy="1574800"/>
          </a:xfrm>
          <a:solidFill>
            <a:srgbClr val="F6F6F6"/>
          </a:solidFill>
        </p:grpSpPr>
        <p:sp>
          <p:nvSpPr>
            <p:cNvPr id="12" name="Rectángulo 11">
              <a:extLst>
                <a:ext uri="{FF2B5EF4-FFF2-40B4-BE49-F238E27FC236}">
                  <a16:creationId xmlns:a16="http://schemas.microsoft.com/office/drawing/2014/main" id="{05B3C424-DB64-4A80-ABDE-080E8220A3D9}"/>
                </a:ext>
              </a:extLst>
            </p:cNvPr>
            <p:cNvSpPr/>
            <p:nvPr userDrawn="1"/>
          </p:nvSpPr>
          <p:spPr>
            <a:xfrm>
              <a:off x="6134100" y="5283200"/>
              <a:ext cx="6057900" cy="157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sp>
          <p:nvSpPr>
            <p:cNvPr id="13" name="Rectángulo 12">
              <a:extLst>
                <a:ext uri="{FF2B5EF4-FFF2-40B4-BE49-F238E27FC236}">
                  <a16:creationId xmlns:a16="http://schemas.microsoft.com/office/drawing/2014/main" id="{02FC2C37-73FD-469E-AEEB-036833F3979F}"/>
                </a:ext>
              </a:extLst>
            </p:cNvPr>
            <p:cNvSpPr/>
            <p:nvPr userDrawn="1"/>
          </p:nvSpPr>
          <p:spPr>
            <a:xfrm>
              <a:off x="0" y="6161088"/>
              <a:ext cx="6197600" cy="696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63"/>
            </a:p>
          </p:txBody>
        </p:sp>
      </p:grpSp>
      <p:cxnSp>
        <p:nvCxnSpPr>
          <p:cNvPr id="7" name="Conector recto 6">
            <a:extLst>
              <a:ext uri="{FF2B5EF4-FFF2-40B4-BE49-F238E27FC236}">
                <a16:creationId xmlns:a16="http://schemas.microsoft.com/office/drawing/2014/main" id="{017AEF31-2D86-48F9-9861-27D4B546456F}"/>
              </a:ext>
            </a:extLst>
          </p:cNvPr>
          <p:cNvCxnSpPr>
            <a:cxnSpLocks/>
          </p:cNvCxnSpPr>
          <p:nvPr userDrawn="1"/>
        </p:nvCxnSpPr>
        <p:spPr>
          <a:xfrm>
            <a:off x="2115054" y="3530941"/>
            <a:ext cx="401075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id="{DBD5407F-3EB9-43A8-A3F3-F74CDA9CC5AB}"/>
              </a:ext>
            </a:extLst>
          </p:cNvPr>
          <p:cNvCxnSpPr>
            <a:cxnSpLocks/>
          </p:cNvCxnSpPr>
          <p:nvPr userDrawn="1"/>
        </p:nvCxnSpPr>
        <p:spPr>
          <a:xfrm>
            <a:off x="6147198" y="3079757"/>
            <a:ext cx="381067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ítulo 1">
            <a:extLst>
              <a:ext uri="{FF2B5EF4-FFF2-40B4-BE49-F238E27FC236}">
                <a16:creationId xmlns:a16="http://schemas.microsoft.com/office/drawing/2014/main" id="{3FF75DF3-7F8C-4DAE-A209-547F2A87DA4D}"/>
              </a:ext>
            </a:extLst>
          </p:cNvPr>
          <p:cNvSpPr>
            <a:spLocks noGrp="1"/>
          </p:cNvSpPr>
          <p:nvPr>
            <p:ph type="ctrTitle" hasCustomPrompt="1"/>
          </p:nvPr>
        </p:nvSpPr>
        <p:spPr>
          <a:xfrm>
            <a:off x="2115054" y="2926738"/>
            <a:ext cx="3858206" cy="485340"/>
          </a:xfrm>
          <a:prstGeom prst="rect">
            <a:avLst/>
          </a:prstGeom>
        </p:spPr>
        <p:txBody>
          <a:bodyPr lIns="0" tIns="0" rIns="0" bIns="0" anchor="t" anchorCtr="0">
            <a:noAutofit/>
          </a:bodyPr>
          <a:lstStyle>
            <a:lvl1pPr algn="r">
              <a:defRPr sz="3400">
                <a:solidFill>
                  <a:schemeClr val="bg1"/>
                </a:solidFill>
                <a:latin typeface="Santander Headline" panose="020B0504020201020104" pitchFamily="34" charset="0"/>
                <a:cs typeface="Santander Headline Light" panose="020B0304020201010104" pitchFamily="34" charset="0"/>
              </a:defRPr>
            </a:lvl1pPr>
          </a:lstStyle>
          <a:p>
            <a:r>
              <a:rPr lang="es-ES" dirty="0" err="1"/>
              <a:t>Cover</a:t>
            </a:r>
            <a:r>
              <a:rPr lang="es-ES" dirty="0"/>
              <a:t> </a:t>
            </a:r>
            <a:r>
              <a:rPr lang="es-ES" dirty="0" err="1"/>
              <a:t>with</a:t>
            </a:r>
            <a:r>
              <a:rPr lang="es-ES" dirty="0"/>
              <a:t> </a:t>
            </a:r>
            <a:r>
              <a:rPr lang="es-ES" dirty="0" err="1"/>
              <a:t>image</a:t>
            </a:r>
            <a:endParaRPr lang="es-ES" dirty="0"/>
          </a:p>
        </p:txBody>
      </p:sp>
      <p:sp>
        <p:nvSpPr>
          <p:cNvPr id="15" name="Marcador de texto 4">
            <a:extLst>
              <a:ext uri="{FF2B5EF4-FFF2-40B4-BE49-F238E27FC236}">
                <a16:creationId xmlns:a16="http://schemas.microsoft.com/office/drawing/2014/main" id="{F596EFE0-11D3-4BF4-A9D4-FDDE2F9ED4AE}"/>
              </a:ext>
            </a:extLst>
          </p:cNvPr>
          <p:cNvSpPr>
            <a:spLocks noGrp="1"/>
          </p:cNvSpPr>
          <p:nvPr>
            <p:ph type="body" sz="quarter" idx="47" hasCustomPrompt="1"/>
          </p:nvPr>
        </p:nvSpPr>
        <p:spPr>
          <a:xfrm>
            <a:off x="6295899" y="2358876"/>
            <a:ext cx="3661974" cy="619900"/>
          </a:xfrm>
          <a:prstGeom prst="rect">
            <a:avLst/>
          </a:prstGeom>
        </p:spPr>
        <p:txBody>
          <a:bodyPr lIns="0" tIns="0" rIns="0" bIns="0">
            <a:noAutofit/>
          </a:bodyPr>
          <a:lstStyle>
            <a:lvl1pPr marL="0" indent="0">
              <a:lnSpc>
                <a:spcPct val="120000"/>
              </a:lnSpc>
              <a:buNone/>
              <a:defRPr sz="3400" b="0" i="0" baseline="0">
                <a:solidFill>
                  <a:schemeClr val="bg1"/>
                </a:solidFill>
                <a:latin typeface="Santander Headline" panose="020B0504020201020104" pitchFamily="34" charset="0"/>
                <a:cs typeface="Santander Headline Light" panose="020B0304020201010104" pitchFamily="34" charset="0"/>
              </a:defRPr>
            </a:lvl1pPr>
            <a:lvl2pPr marL="371475" indent="0">
              <a:buNone/>
              <a:defRPr sz="1788">
                <a:latin typeface="Arial" panose="020B0604020202020204" pitchFamily="34" charset="0"/>
                <a:cs typeface="Arial" panose="020B0604020202020204" pitchFamily="34" charset="0"/>
              </a:defRPr>
            </a:lvl2pPr>
            <a:lvl3pPr marL="742950" indent="0">
              <a:buNone/>
              <a:defRPr sz="1788">
                <a:latin typeface="Arial" panose="020B0604020202020204" pitchFamily="34" charset="0"/>
                <a:cs typeface="Arial" panose="020B0604020202020204" pitchFamily="34" charset="0"/>
              </a:defRPr>
            </a:lvl3pPr>
            <a:lvl4pPr marL="1114425" indent="0">
              <a:buNone/>
              <a:defRPr sz="1788">
                <a:latin typeface="Arial" panose="020B0604020202020204" pitchFamily="34" charset="0"/>
                <a:cs typeface="Arial" panose="020B0604020202020204" pitchFamily="34" charset="0"/>
              </a:defRPr>
            </a:lvl4pPr>
            <a:lvl5pPr marL="1485900" indent="0">
              <a:buNone/>
              <a:defRPr sz="1788">
                <a:latin typeface="Arial" panose="020B0604020202020204" pitchFamily="34" charset="0"/>
                <a:cs typeface="Arial" panose="020B0604020202020204" pitchFamily="34" charset="0"/>
              </a:defRPr>
            </a:lvl5pPr>
          </a:lstStyle>
          <a:p>
            <a:pPr lvl="0"/>
            <a:r>
              <a:rPr lang="es-ES" dirty="0" err="1"/>
              <a:t>With</a:t>
            </a:r>
            <a:r>
              <a:rPr lang="es-ES" dirty="0"/>
              <a:t> </a:t>
            </a:r>
            <a:r>
              <a:rPr lang="es-ES" dirty="0" err="1"/>
              <a:t>lines</a:t>
            </a:r>
            <a:endParaRPr lang="es-ES" dirty="0"/>
          </a:p>
        </p:txBody>
      </p:sp>
    </p:spTree>
    <p:extLst>
      <p:ext uri="{BB962C8B-B14F-4D97-AF65-F5344CB8AC3E}">
        <p14:creationId xmlns:p14="http://schemas.microsoft.com/office/powerpoint/2010/main" val="1412886493"/>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dex_01">
    <p:spTree>
      <p:nvGrpSpPr>
        <p:cNvPr id="1" name=""/>
        <p:cNvGrpSpPr/>
        <p:nvPr/>
      </p:nvGrpSpPr>
      <p:grpSpPr>
        <a:xfrm>
          <a:off x="0" y="0"/>
          <a:ext cx="0" cy="0"/>
          <a:chOff x="0" y="0"/>
          <a:chExt cx="0" cy="0"/>
        </a:xfrm>
      </p:grpSpPr>
      <p:pic>
        <p:nvPicPr>
          <p:cNvPr id="3" name="Imagen 2" descr="Persona en bicicleta en la calle&#10;&#10;Descripción generada automáticamente">
            <a:extLst>
              <a:ext uri="{FF2B5EF4-FFF2-40B4-BE49-F238E27FC236}">
                <a16:creationId xmlns:a16="http://schemas.microsoft.com/office/drawing/2014/main" id="{DFBCE102-0B1D-4047-A4E7-B62B88CB809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65371" y="845991"/>
            <a:ext cx="6226630" cy="6012009"/>
          </a:xfrm>
          <a:prstGeom prst="rect">
            <a:avLst/>
          </a:prstGeom>
        </p:spPr>
      </p:pic>
      <p:cxnSp>
        <p:nvCxnSpPr>
          <p:cNvPr id="4" name="Conector recto 3">
            <a:extLst>
              <a:ext uri="{FF2B5EF4-FFF2-40B4-BE49-F238E27FC236}">
                <a16:creationId xmlns:a16="http://schemas.microsoft.com/office/drawing/2014/main" id="{911076D1-219C-4FC1-8D80-8F1F629A9690}"/>
              </a:ext>
            </a:extLst>
          </p:cNvPr>
          <p:cNvCxnSpPr>
            <a:cxnSpLocks/>
          </p:cNvCxnSpPr>
          <p:nvPr userDrawn="1"/>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Conector recto 4">
            <a:extLst>
              <a:ext uri="{FF2B5EF4-FFF2-40B4-BE49-F238E27FC236}">
                <a16:creationId xmlns:a16="http://schemas.microsoft.com/office/drawing/2014/main" id="{ED64DCC0-A7B7-4FE9-B365-612F9ECAB20E}"/>
              </a:ext>
            </a:extLst>
          </p:cNvPr>
          <p:cNvCxnSpPr>
            <a:cxnSpLocks/>
          </p:cNvCxnSpPr>
          <p:nvPr userDrawn="1"/>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8011952"/>
      </p:ext>
    </p:extLst>
  </p:cSld>
  <p:clrMapOvr>
    <a:masterClrMapping/>
  </p:clrMapOvr>
  <p:extLst>
    <p:ext uri="{DCECCB84-F9BA-43D5-87BE-67443E8EF086}">
      <p15:sldGuideLst xmlns:p15="http://schemas.microsoft.com/office/powerpoint/2012/main">
        <p15:guide id="1" pos="325" userDrawn="1">
          <p15:clr>
            <a:srgbClr val="FBAE40"/>
          </p15:clr>
        </p15:guide>
        <p15:guide id="2" pos="61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dex_03">
    <p:spTree>
      <p:nvGrpSpPr>
        <p:cNvPr id="1" name=""/>
        <p:cNvGrpSpPr/>
        <p:nvPr/>
      </p:nvGrpSpPr>
      <p:grpSpPr>
        <a:xfrm>
          <a:off x="0" y="0"/>
          <a:ext cx="0" cy="0"/>
          <a:chOff x="0" y="0"/>
          <a:chExt cx="0" cy="0"/>
        </a:xfrm>
      </p:grpSpPr>
      <p:pic>
        <p:nvPicPr>
          <p:cNvPr id="3" name="Imagen 2" descr="Imagen que contiene verde, alfombra&#10;&#10;Descripción generada automáticamente">
            <a:extLst>
              <a:ext uri="{FF2B5EF4-FFF2-40B4-BE49-F238E27FC236}">
                <a16:creationId xmlns:a16="http://schemas.microsoft.com/office/drawing/2014/main" id="{7C2D42DF-40DF-4E77-911C-4D86E599CE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65370" y="873125"/>
            <a:ext cx="6226630" cy="5984875"/>
          </a:xfrm>
          <a:prstGeom prst="rect">
            <a:avLst/>
          </a:prstGeom>
        </p:spPr>
      </p:pic>
      <p:cxnSp>
        <p:nvCxnSpPr>
          <p:cNvPr id="4" name="Conector recto 3">
            <a:extLst>
              <a:ext uri="{FF2B5EF4-FFF2-40B4-BE49-F238E27FC236}">
                <a16:creationId xmlns:a16="http://schemas.microsoft.com/office/drawing/2014/main" id="{46E030D6-43DE-460E-851D-BE19C1324EF9}"/>
              </a:ext>
            </a:extLst>
          </p:cNvPr>
          <p:cNvCxnSpPr>
            <a:cxnSpLocks/>
          </p:cNvCxnSpPr>
          <p:nvPr userDrawn="1"/>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DB9FE630-C55B-455F-ADB3-F0E349F8428F}"/>
              </a:ext>
            </a:extLst>
          </p:cNvPr>
          <p:cNvCxnSpPr>
            <a:cxnSpLocks/>
          </p:cNvCxnSpPr>
          <p:nvPr userDrawn="1"/>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6921715"/>
      </p:ext>
    </p:extLst>
  </p:cSld>
  <p:clrMapOvr>
    <a:masterClrMapping/>
  </p:clrMapOvr>
  <p:extLst>
    <p:ext uri="{DCECCB84-F9BA-43D5-87BE-67443E8EF086}">
      <p15:sldGuideLst xmlns:p15="http://schemas.microsoft.com/office/powerpoint/2012/main">
        <p15:guide id="1" pos="325" userDrawn="1">
          <p15:clr>
            <a:srgbClr val="FBAE40"/>
          </p15:clr>
        </p15:guide>
        <p15:guide id="2" pos="61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image" Target="../media/image2.svg"/><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image" Target="../media/image1.png"/><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6F6F6"/>
        </a:solidFill>
        <a:effectLst/>
      </p:bgPr>
    </p:bg>
    <p:spTree>
      <p:nvGrpSpPr>
        <p:cNvPr id="1" name=""/>
        <p:cNvGrpSpPr/>
        <p:nvPr/>
      </p:nvGrpSpPr>
      <p:grpSpPr>
        <a:xfrm>
          <a:off x="0" y="0"/>
          <a:ext cx="0" cy="0"/>
          <a:chOff x="0" y="0"/>
          <a:chExt cx="0" cy="0"/>
        </a:xfrm>
      </p:grpSpPr>
      <p:pic>
        <p:nvPicPr>
          <p:cNvPr id="5" name="Gráfico 4">
            <a:extLst>
              <a:ext uri="{FF2B5EF4-FFF2-40B4-BE49-F238E27FC236}">
                <a16:creationId xmlns:a16="http://schemas.microsoft.com/office/drawing/2014/main" id="{084ED6BD-187A-4FFC-83BA-17554F434F2C}"/>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442913" y="273212"/>
            <a:ext cx="838460" cy="190176"/>
          </a:xfrm>
          <a:prstGeom prst="rect">
            <a:avLst/>
          </a:prstGeom>
        </p:spPr>
      </p:pic>
    </p:spTree>
    <p:extLst>
      <p:ext uri="{BB962C8B-B14F-4D97-AF65-F5344CB8AC3E}">
        <p14:creationId xmlns:p14="http://schemas.microsoft.com/office/powerpoint/2010/main" val="3955702408"/>
      </p:ext>
    </p:extLst>
  </p:cSld>
  <p:clrMap bg1="lt1" tx1="dk1" bg2="lt2" tx2="dk2" accent1="accent1" accent2="accent2" accent3="accent3" accent4="accent4" accent5="accent5" accent6="accent6" hlink="hlink" folHlink="folHlink"/>
  <p:sldLayoutIdLst>
    <p:sldLayoutId id="2147483779" r:id="rId1"/>
    <p:sldLayoutId id="2147483835" r:id="rId2"/>
    <p:sldLayoutId id="2147483837" r:id="rId3"/>
    <p:sldLayoutId id="2147483876" r:id="rId4"/>
    <p:sldLayoutId id="2147483877" r:id="rId5"/>
    <p:sldLayoutId id="2147483879" r:id="rId6"/>
    <p:sldLayoutId id="2147483881" r:id="rId7"/>
    <p:sldLayoutId id="2147483667" r:id="rId8"/>
    <p:sldLayoutId id="2147483846" r:id="rId9"/>
    <p:sldLayoutId id="2147483848" r:id="rId10"/>
    <p:sldLayoutId id="2147483747" r:id="rId11"/>
    <p:sldLayoutId id="2147483864" r:id="rId12"/>
    <p:sldLayoutId id="2147483852" r:id="rId13"/>
    <p:sldLayoutId id="2147483865" r:id="rId14"/>
    <p:sldLayoutId id="2147483853" r:id="rId15"/>
    <p:sldLayoutId id="2147483866" r:id="rId16"/>
    <p:sldLayoutId id="2147483855" r:id="rId17"/>
    <p:sldLayoutId id="2147483868" r:id="rId18"/>
    <p:sldLayoutId id="2147483785" r:id="rId19"/>
    <p:sldLayoutId id="2147483740" r:id="rId20"/>
    <p:sldLayoutId id="2147483789" r:id="rId21"/>
    <p:sldLayoutId id="2147483863" r:id="rId22"/>
    <p:sldLayoutId id="2147483862" r:id="rId23"/>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s-E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13" userDrawn="1">
          <p15:clr>
            <a:srgbClr val="F26B43"/>
          </p15:clr>
        </p15:guide>
        <p15:guide id="3" orient="horz" pos="550" userDrawn="1">
          <p15:clr>
            <a:srgbClr val="F26B43"/>
          </p15:clr>
        </p15:guide>
        <p15:guide id="4" orient="horz" pos="3906" userDrawn="1">
          <p15:clr>
            <a:srgbClr val="F26B43"/>
          </p15:clr>
        </p15:guide>
        <p15:guide id="5" orient="horz" pos="278" userDrawn="1">
          <p15:clr>
            <a:srgbClr val="F26B43"/>
          </p15:clr>
        </p15:guide>
        <p15:guide id="6" pos="26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áfico 6">
            <a:extLst>
              <a:ext uri="{FF2B5EF4-FFF2-40B4-BE49-F238E27FC236}">
                <a16:creationId xmlns:a16="http://schemas.microsoft.com/office/drawing/2014/main" id="{4C123C35-58CB-4CF7-8A8B-06A19277FE58}"/>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442913" y="273212"/>
            <a:ext cx="838460" cy="190176"/>
          </a:xfrm>
          <a:prstGeom prst="rect">
            <a:avLst/>
          </a:prstGeom>
        </p:spPr>
      </p:pic>
    </p:spTree>
    <p:extLst>
      <p:ext uri="{BB962C8B-B14F-4D97-AF65-F5344CB8AC3E}">
        <p14:creationId xmlns:p14="http://schemas.microsoft.com/office/powerpoint/2010/main" val="3682351262"/>
      </p:ext>
    </p:extLst>
  </p:cSld>
  <p:clrMap bg1="lt1" tx1="dk1" bg2="lt2" tx2="dk2" accent1="accent1" accent2="accent2" accent3="accent3" accent4="accent4" accent5="accent5" accent6="accent6" hlink="hlink" folHlink="folHlink"/>
  <p:sldLayoutIdLst>
    <p:sldLayoutId id="2147483737" r:id="rId1"/>
    <p:sldLayoutId id="2147483769" r:id="rId2"/>
    <p:sldLayoutId id="2147483771" r:id="rId3"/>
    <p:sldLayoutId id="2147483829" r:id="rId4"/>
    <p:sldLayoutId id="2147483772" r:id="rId5"/>
    <p:sldLayoutId id="2147483832" r:id="rId6"/>
    <p:sldLayoutId id="2147483773" r:id="rId7"/>
    <p:sldLayoutId id="2147483831" r:id="rId8"/>
    <p:sldLayoutId id="2147483774" r:id="rId9"/>
    <p:sldLayoutId id="2147483833" r:id="rId10"/>
    <p:sldLayoutId id="2147483775" r:id="rId11"/>
    <p:sldLayoutId id="2147483830" r:id="rId12"/>
    <p:sldLayoutId id="2147483794" r:id="rId13"/>
    <p:sldLayoutId id="2147483735" r:id="rId14"/>
    <p:sldLayoutId id="2147483741" r:id="rId15"/>
    <p:sldLayoutId id="2147483757" r:id="rId16"/>
    <p:sldLayoutId id="2147483758" r:id="rId17"/>
    <p:sldLayoutId id="2147483793" r:id="rId18"/>
    <p:sldLayoutId id="2147483796" r:id="rId19"/>
    <p:sldLayoutId id="2147483795" r:id="rId20"/>
    <p:sldLayoutId id="2147483797" r:id="rId21"/>
    <p:sldLayoutId id="2147483798" r:id="rId22"/>
    <p:sldLayoutId id="2147483736" r:id="rId23"/>
    <p:sldLayoutId id="2147483770" r:id="rId24"/>
    <p:sldLayoutId id="2147483738" r:id="rId25"/>
    <p:sldLayoutId id="2147483765" r:id="rId26"/>
    <p:sldLayoutId id="2147483826" r:id="rId27"/>
    <p:sldLayoutId id="2147483827" r:id="rId28"/>
    <p:sldLayoutId id="2147483882" r:id="rId29"/>
    <p:sldLayoutId id="2147483883" r:id="rId30"/>
    <p:sldLayoutId id="2147483884" r:id="rId31"/>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s-E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01" userDrawn="1">
          <p15:clr>
            <a:srgbClr val="F26B43"/>
          </p15:clr>
        </p15:guide>
        <p15:guide id="2" pos="3024" userDrawn="1">
          <p15:clr>
            <a:srgbClr val="F26B43"/>
          </p15:clr>
        </p15:guide>
        <p15:guide id="4" orient="horz" pos="3929" userDrawn="1">
          <p15:clr>
            <a:srgbClr val="F26B43"/>
          </p15:clr>
        </p15:guide>
        <p15:guide id="5" orient="horz" pos="232" userDrawn="1">
          <p15:clr>
            <a:srgbClr val="F26B43"/>
          </p15:clr>
        </p15:guide>
        <p15:guide id="6" orient="horz" pos="504" userDrawn="1">
          <p15:clr>
            <a:srgbClr val="F26B43"/>
          </p15:clr>
        </p15:guide>
        <p15:guide id="7" pos="3386" userDrawn="1">
          <p15:clr>
            <a:srgbClr val="F26B43"/>
          </p15:clr>
        </p15:guide>
        <p15:guide id="8" pos="279" userDrawn="1">
          <p15:clr>
            <a:srgbClr val="F26B43"/>
          </p15:clr>
        </p15:guide>
        <p15:guide id="9" orient="horz" pos="11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52.xml"/><Relationship Id="rId1" Type="http://schemas.openxmlformats.org/officeDocument/2006/relationships/tags" Target="../tags/tag2.xml"/><Relationship Id="rId4" Type="http://schemas.openxmlformats.org/officeDocument/2006/relationships/image" Target="../media/image23.emf"/></Relationships>
</file>

<file path=ppt/slides/_rels/slide10.xml.rels><?xml version="1.0" encoding="UTF-8" standalone="yes"?>
<Relationships xmlns="http://schemas.openxmlformats.org/package/2006/relationships"><Relationship Id="rId3" Type="http://schemas.openxmlformats.org/officeDocument/2006/relationships/image" Target="../media/image32.gif"/><Relationship Id="rId7" Type="http://schemas.openxmlformats.org/officeDocument/2006/relationships/hyperlink" Target="https://arxiv.org/abs/1712.05877?utm_campaign=The%20Batch&amp;utm_medium=email&amp;_hsenc=p2ANqtz-_niaftZH7-ErCRnVLd5Nyb2OMyImdao2LfEJE4KhCeVZbc3NqUcegiahx4OtYnW9kdqw-r-AMu5o8FfO-CTIrRtHepvGWeOUW9zPlEbRTkB9nquSA&amp;_hsmi=367457460&amp;utm_content=367458205&amp;utm_source=hs_email" TargetMode="External"/><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hyperlink" Target="https://developer.apple.com/documentation/FoundationModels?utm_campaign=The%20Batch&amp;utm_medium=email&amp;_hsenc=p2ANqtz--VjDZnRekgtPNoyYn6uZdsh1mhYEJikmatd-EPewANTPoHNqpSdobR7p8M1lbo0iiOuOtU59SvFuah6--hK_ptcn5xx-kWN6qFDB37BZGA7yKTBWo&amp;_hsmi=367457460&amp;utm_content=367458205&amp;utm_source=hs_email" TargetMode="External"/><Relationship Id="rId5" Type="http://schemas.openxmlformats.org/officeDocument/2006/relationships/hyperlink" Target="https://machinelearning.apple.com/research/apple-foundation-models-2025-updates?utm_campaign=The%20Batch&amp;utm_medium=email&amp;_hsenc=p2ANqtz-9jVW_1O0gILd6-0txcEMcqw1ofe1wuyVvxPQ5RDoMmaQjWrZOPlbqG6qVd_eQMyTFEGqrRzDu4aJw_agSY-v3M0TEqer5i2b4165_SocmT86GIxY4&amp;_hsmi=367457460&amp;utm_content=367458205&amp;utm_source=hs_email" TargetMode="External"/><Relationship Id="rId4" Type="http://schemas.openxmlformats.org/officeDocument/2006/relationships/image" Target="https://info.deeplearning.ai/hs-fs/hubfs/APPLEMODELS.gif?width=1200&amp;upscale=true&amp;name=APPLEMODELS.gif"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hyperlink" Target="https://arxiv.org/abs/2504.12285?utm_campaign=The%20Batch&amp;utm_medium=email&amp;_hsenc=p2ANqtz--ZH1XLrqDCwdm96z9mnH0ycTAvMHmiIH2IHBhs9kq1eF5YDQeS8LdN76CCW14i5jFJb0zpigScbC7QuUarlRoef1Orm8VEoQvFXj-LL9wpGWNqNpQ&amp;_hsmi=368534548&amp;utm_content=368534113&amp;utm_source=hs_email"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29.xml"/><Relationship Id="rId6" Type="http://schemas.openxmlformats.org/officeDocument/2006/relationships/hyperlink" Target="https://apidog.com/es/blog/mcp-servers-explained-2/" TargetMode="External"/><Relationship Id="rId5" Type="http://schemas.openxmlformats.org/officeDocument/2006/relationships/hyperlink" Target="https://norahsakal.com/blog/mcp-vs-api-model-context-protocol-explained/" TargetMode="Externa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hyperlink" Target="https://santandernet-my.sharepoint.com/:v:/g/personal/n671260_corp_santanderam_com/EXx05zr1441Mmq9xXX9keFABHjyaWMBm05wIE_9DGT2cWA?nav=eyJyZWZlcnJhbEluZm8iOnsicmVmZXJyYWxBcHAiOiJPbmVEcml2ZUZvckJ1c2luZXNzIiwicmVmZXJyYWxBcHBQbGF0Zm9ybSI6IldlYiIsInJlZmVycmFsTW9kZSI6InZpZXciLCJyZWZlcnJhbFZpZXciOiJNeUZpbGVzTGlua0NvcHkifX0&amp;e=dnkobt" TargetMode="External"/><Relationship Id="rId7"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image" Target="../media/image40.png"/><Relationship Id="rId5" Type="http://schemas.openxmlformats.org/officeDocument/2006/relationships/hyperlink" Target="https://santandernet-my.sharepoint.com/:v:/g/personal/n671260_corp_santanderam_com/Ea1ZA0izeUdPv7XSSHB_CjkB4LCcx6YUp43W-_FixoA65g?nav=eyJyZWZlcnJhbEluZm8iOnsicmVmZXJyYWxBcHAiOiJPbmVEcml2ZUZvckJ1c2luZXNzIiwicmVmZXJyYWxBcHBQbGF0Zm9ybSI6IldlYiIsInJlZmVycmFsTW9kZSI6InZpZXciLCJyZWZlcnJhbFZpZXciOiJNeUZpbGVzTGlua0NvcHkifX0&amp;e=PcihUy" TargetMode="Externa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2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hyperlink" Target="https://santander.blackrock.com/eacs/search/video-feature-results?videoId=COPILOT_portanalytics" TargetMode="External"/><Relationship Id="rId2" Type="http://schemas.openxmlformats.org/officeDocument/2006/relationships/notesSlide" Target="../notesSlides/notesSlide4.xml"/><Relationship Id="rId1" Type="http://schemas.openxmlformats.org/officeDocument/2006/relationships/slideLayout" Target="../slideLayouts/slideLayout29.xml"/><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5.xml"/><Relationship Id="rId1" Type="http://schemas.openxmlformats.org/officeDocument/2006/relationships/slideLayout" Target="../slideLayouts/slideLayout29.xml"/><Relationship Id="rId6" Type="http://schemas.openxmlformats.org/officeDocument/2006/relationships/hyperlink" Target="https://help.openai.com/en/articles/11165333-chatgpt-enterprise-models-limits" TargetMode="External"/><Relationship Id="rId5" Type="http://schemas.openxmlformats.org/officeDocument/2006/relationships/hyperlink" Target="https://help.openai.com/en/articles/9624314-model-release-notes?utm_campaign=The%20Batch&amp;utm_medium=email&amp;_hsenc=p2ANqtz-8mDvKi8QS7Gs-4Emkp1_Np9unVEmpO5BSR_9xVdsqCY2oPXfviPJIBt56-UEtjUoh9ZdMOWBsVe2qx3uSq0FKmWDKQW5Ktg3ffDXMhMhAyPS40FzM&amp;_hsmi=367457460&amp;utm_content=367458205&amp;utm_source=hs_email" TargetMode="External"/><Relationship Id="rId4" Type="http://schemas.openxmlformats.org/officeDocument/2006/relationships/image" Target="https://info.deeplearning.ai/hs-fs/hubfs/O3PRO.gif?width=1200&amp;upscale=true&amp;name=O3PRO.gif"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blog.google/technology/developers/introducing-gemini-cli-open-source-ai-agent/"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hyperlink" Target="https://apnews.com/article/ai-chatbot-training-data-libraries-idi-e096a81a4fceb2951f232a33ac767f53?utm_campaign=Data%20Points&amp;utm_medium=email&amp;_hsenc=p2ANqtz-8X878dL6uWnY63aQ5koo2--svIZUwJSgpBHKn8jAZom7ofIuNZF0ivK8tRssk2NPoyVVqPweCcP9-V5CVU_H_t8q-r_G5MjdcCHFNV4oJSskVEsEs&amp;_hsmi=367782213&amp;utm_content=367782213&amp;utm_source=hs_email" TargetMode="External"/><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3DD5914-BCDC-CF29-39B4-D03CEA154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think-cell data - do not delete" hidden="1">
                        <a:extLst>
                          <a:ext uri="{FF2B5EF4-FFF2-40B4-BE49-F238E27FC236}">
                            <a16:creationId xmlns:a16="http://schemas.microsoft.com/office/drawing/2014/main" id="{63DD5914-BCDC-CF29-39B4-D03CEA154C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object 6"/>
          <p:cNvSpPr txBox="1"/>
          <p:nvPr/>
        </p:nvSpPr>
        <p:spPr>
          <a:xfrm>
            <a:off x="767875" y="5643884"/>
            <a:ext cx="3253104" cy="409086"/>
          </a:xfrm>
          <a:prstGeom prst="rect">
            <a:avLst/>
          </a:prstGeom>
        </p:spPr>
        <p:txBody>
          <a:bodyPr vert="horz" wrap="square" lIns="0" tIns="12065" rIns="0" bIns="0" rtlCol="0">
            <a:spAutoFit/>
          </a:bodyPr>
          <a:lstStyle/>
          <a:p>
            <a:pPr marL="12700" marR="5080" lvl="0" indent="0" algn="l" defTabSz="914400" rtl="0" eaLnBrk="1" fontAlgn="auto" latinLnBrk="0" hangingPunct="1">
              <a:lnSpc>
                <a:spcPct val="108800"/>
              </a:lnSpc>
              <a:spcBef>
                <a:spcPts val="95"/>
              </a:spcBef>
              <a:spcAft>
                <a:spcPts val="0"/>
              </a:spcAft>
              <a:buClrTx/>
              <a:buSzTx/>
              <a:buFontTx/>
              <a:buNone/>
              <a:tabLst/>
              <a:defRPr/>
            </a:pPr>
            <a:r>
              <a:rPr lang="es-ES" sz="2500" kern="0" dirty="0">
                <a:solidFill>
                  <a:srgbClr val="FFFFFF"/>
                </a:solidFill>
                <a:latin typeface="Santander Headline"/>
                <a:cs typeface="Santander Headline"/>
              </a:rPr>
              <a:t>30</a:t>
            </a:r>
            <a:r>
              <a:rPr kumimoji="0" lang="es-ES" sz="2500" b="0" i="0" u="none" strike="noStrike" kern="0" cap="none" spc="0" normalizeH="0" baseline="0" noProof="0" dirty="0">
                <a:ln>
                  <a:noFill/>
                </a:ln>
                <a:solidFill>
                  <a:srgbClr val="FFFFFF"/>
                </a:solidFill>
                <a:effectLst/>
                <a:uLnTx/>
                <a:uFillTx/>
                <a:latin typeface="Santander Headline"/>
                <a:ea typeface="+mn-ea"/>
                <a:cs typeface="Santander Headline"/>
              </a:rPr>
              <a:t> June 2025</a:t>
            </a:r>
            <a:endParaRPr kumimoji="0" sz="2500" b="0" i="0" u="none" strike="noStrike" kern="0" cap="none" spc="0" normalizeH="0" baseline="0" noProof="0" dirty="0">
              <a:ln>
                <a:noFill/>
              </a:ln>
              <a:solidFill>
                <a:sysClr val="windowText" lastClr="000000"/>
              </a:solidFill>
              <a:effectLst/>
              <a:uLnTx/>
              <a:uFillTx/>
              <a:latin typeface="Santander Headline"/>
              <a:ea typeface="+mn-ea"/>
              <a:cs typeface="Santander Headline"/>
            </a:endParaRPr>
          </a:p>
        </p:txBody>
      </p:sp>
      <p:sp>
        <p:nvSpPr>
          <p:cNvPr id="11" name="object 3">
            <a:extLst>
              <a:ext uri="{FF2B5EF4-FFF2-40B4-BE49-F238E27FC236}">
                <a16:creationId xmlns:a16="http://schemas.microsoft.com/office/drawing/2014/main" id="{D2ABA22D-F23D-20AB-0DA8-B06D42BD659D}"/>
              </a:ext>
            </a:extLst>
          </p:cNvPr>
          <p:cNvSpPr txBox="1">
            <a:spLocks noGrp="1"/>
          </p:cNvSpPr>
          <p:nvPr>
            <p:ph type="body" idx="4294967295"/>
          </p:nvPr>
        </p:nvSpPr>
        <p:spPr>
          <a:xfrm>
            <a:off x="735145" y="1534596"/>
            <a:ext cx="8687529" cy="1762214"/>
          </a:xfrm>
          <a:prstGeom prst="rect">
            <a:avLst/>
          </a:prstGeom>
        </p:spPr>
        <p:txBody>
          <a:bodyPr vert="horz" wrap="square" lIns="0" tIns="168275" rIns="0" bIns="0" rtlCol="0">
            <a:spAutoFit/>
          </a:bodyPr>
          <a:lstStyle/>
          <a:p>
            <a:pPr marL="0" marR="5080" indent="0">
              <a:lnSpc>
                <a:spcPts val="6000"/>
              </a:lnSpc>
              <a:spcBef>
                <a:spcPts val="1325"/>
              </a:spcBef>
              <a:buNone/>
            </a:pPr>
            <a:r>
              <a:rPr lang="en-US" sz="6000" dirty="0">
                <a:solidFill>
                  <a:schemeClr val="bg1"/>
                </a:solidFill>
                <a:latin typeface="Santander Text Light" panose="020B0304020201020104" pitchFamily="34" charset="0"/>
                <a:cs typeface="Santander Headline Light"/>
              </a:rPr>
              <a:t>Investments AI Circle</a:t>
            </a:r>
            <a:endParaRPr lang="en-US" sz="4000" dirty="0">
              <a:solidFill>
                <a:schemeClr val="bg1"/>
              </a:solidFill>
              <a:latin typeface="Santander Text Light" panose="020B0304020201020104" pitchFamily="34" charset="0"/>
              <a:cs typeface="Santander Headline Light"/>
            </a:endParaRPr>
          </a:p>
          <a:p>
            <a:pPr marL="0" marR="5080" indent="0">
              <a:lnSpc>
                <a:spcPts val="6000"/>
              </a:lnSpc>
              <a:spcBef>
                <a:spcPts val="1325"/>
              </a:spcBef>
              <a:buNone/>
            </a:pPr>
            <a:r>
              <a:rPr lang="en-US" sz="2400" b="1" dirty="0">
                <a:solidFill>
                  <a:schemeClr val="bg1"/>
                </a:solidFill>
                <a:latin typeface="Santander Text" panose="020B0504020201020104" pitchFamily="34" charset="0"/>
                <a:cs typeface="Santander Headline Light"/>
              </a:rPr>
              <a:t>FOLLOW-UP</a:t>
            </a:r>
            <a:endParaRPr lang="en-US" sz="4000" b="1" dirty="0">
              <a:solidFill>
                <a:schemeClr val="bg1"/>
              </a:solidFill>
              <a:latin typeface="Santander Text" panose="020B0504020201020104" pitchFamily="34" charset="0"/>
              <a:cs typeface="Santander Headline Ligh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ECB4E-E990-8A26-0F74-DA343267868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F6F8EF28-670B-3735-C58B-8676A3D87D0A}"/>
              </a:ext>
            </a:extLst>
          </p:cNvPr>
          <p:cNvSpPr>
            <a:spLocks noGrp="1"/>
          </p:cNvSpPr>
          <p:nvPr>
            <p:ph type="ctrTitle"/>
          </p:nvPr>
        </p:nvSpPr>
        <p:spPr>
          <a:xfrm>
            <a:off x="439259" y="939173"/>
            <a:ext cx="11309829" cy="740981"/>
          </a:xfrm>
        </p:spPr>
        <p:txBody>
          <a:bodyPr/>
          <a:lstStyle/>
          <a:p>
            <a:pPr algn="just"/>
            <a:r>
              <a:rPr lang="en-US" dirty="0"/>
              <a:t>2.5) Apple Updates Its Foundation Models</a:t>
            </a:r>
          </a:p>
        </p:txBody>
      </p:sp>
      <p:sp>
        <p:nvSpPr>
          <p:cNvPr id="6" name="Marcador de texto 4">
            <a:extLst>
              <a:ext uri="{FF2B5EF4-FFF2-40B4-BE49-F238E27FC236}">
                <a16:creationId xmlns:a16="http://schemas.microsoft.com/office/drawing/2014/main" id="{AF532910-AF89-9348-D4E5-3C7AB4BCCCF8}"/>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Apple expands its AI capabilities through </a:t>
            </a:r>
            <a:r>
              <a:rPr lang="en-US" sz="1800" b="1" dirty="0">
                <a:latin typeface="+mn-lt"/>
              </a:rPr>
              <a:t>Apple Foundation Models </a:t>
            </a:r>
            <a:r>
              <a:rPr lang="en-US" sz="1800" dirty="0">
                <a:latin typeface="+mn-lt"/>
              </a:rPr>
              <a:t>(AFM), enhancing vision-language performance and providing developer tools.</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Models</a:t>
            </a:r>
            <a:r>
              <a:rPr lang="en-US" sz="1800" dirty="0">
                <a:latin typeface="+mn-lt"/>
              </a:rPr>
              <a:t>: AFM-on-device (3B + 300M parameters) and AFM-server (custom </a:t>
            </a:r>
            <a:r>
              <a:rPr lang="en-US" sz="1800" dirty="0" err="1">
                <a:latin typeface="+mn-lt"/>
              </a:rPr>
              <a:t>MoE</a:t>
            </a:r>
            <a:r>
              <a:rPr lang="en-US" sz="1800" dirty="0">
                <a:latin typeface="+mn-lt"/>
              </a:rPr>
              <a:t> + 1B vision encoder).</a:t>
            </a:r>
          </a:p>
          <a:p>
            <a:pPr marL="285750" indent="-285750" algn="just">
              <a:buClr>
                <a:srgbClr val="C00000"/>
              </a:buClr>
              <a:buFont typeface="Wingdings" panose="05000000000000000000" pitchFamily="2" charset="2"/>
              <a:buChar char="§"/>
            </a:pPr>
            <a:r>
              <a:rPr lang="en-US" sz="1800" b="1" dirty="0">
                <a:latin typeface="+mn-lt"/>
              </a:rPr>
              <a:t>Features</a:t>
            </a:r>
            <a:r>
              <a:rPr lang="en-US" sz="1800" dirty="0">
                <a:latin typeface="+mn-lt"/>
              </a:rPr>
              <a:t>: Vision, tool use, multi-language support, </a:t>
            </a:r>
            <a:r>
              <a:rPr lang="en-US" sz="1800" b="1" dirty="0">
                <a:latin typeface="+mn-lt"/>
              </a:rPr>
              <a:t>quantized</a:t>
            </a:r>
            <a:r>
              <a:rPr lang="en-US" sz="1800" dirty="0">
                <a:latin typeface="+mn-lt"/>
              </a:rPr>
              <a:t> </a:t>
            </a:r>
            <a:r>
              <a:rPr lang="en-US" sz="1800" b="1" dirty="0">
                <a:latin typeface="+mn-lt"/>
              </a:rPr>
              <a:t>models</a:t>
            </a:r>
            <a:r>
              <a:rPr lang="en-US" sz="1800" dirty="0">
                <a:latin typeface="+mn-lt"/>
              </a:rPr>
              <a:t> for efficiency, </a:t>
            </a:r>
            <a:r>
              <a:rPr lang="en-US" sz="1800" dirty="0" err="1">
                <a:latin typeface="+mn-lt"/>
              </a:rPr>
              <a:t>LoRA</a:t>
            </a:r>
            <a:r>
              <a:rPr lang="en-US" sz="1800" dirty="0">
                <a:latin typeface="+mn-lt"/>
              </a:rPr>
              <a:t> adapters for task-specific tuning.</a:t>
            </a:r>
          </a:p>
          <a:p>
            <a:pPr marL="285750" indent="-285750" algn="just">
              <a:buClr>
                <a:srgbClr val="C00000"/>
              </a:buClr>
              <a:buFont typeface="Wingdings" panose="05000000000000000000" pitchFamily="2" charset="2"/>
              <a:buChar char="§"/>
            </a:pPr>
            <a:r>
              <a:rPr lang="en-US" sz="1800" b="1" dirty="0">
                <a:latin typeface="+mn-lt"/>
              </a:rPr>
              <a:t>Deployment</a:t>
            </a:r>
            <a:r>
              <a:rPr lang="en-US" sz="1800" dirty="0">
                <a:latin typeface="+mn-lt"/>
              </a:rPr>
              <a:t>: AFM-on-device available via developer framework; AFM-server is internal use only.</a:t>
            </a:r>
          </a:p>
          <a:p>
            <a:pPr marL="285750" indent="-285750" algn="just">
              <a:buClr>
                <a:srgbClr val="C00000"/>
              </a:buClr>
              <a:buFont typeface="Wingdings" panose="05000000000000000000" pitchFamily="2" charset="2"/>
              <a:buChar char="§"/>
            </a:pPr>
            <a:r>
              <a:rPr lang="en-US" sz="1800" b="1" dirty="0">
                <a:latin typeface="+mn-lt"/>
              </a:rPr>
              <a:t>Performance</a:t>
            </a:r>
            <a:r>
              <a:rPr lang="en-US" sz="1800" dirty="0">
                <a:latin typeface="+mn-lt"/>
              </a:rPr>
              <a:t>: Strong in image understanding and non-U.S. English tasks; mixed results vs. competitors in general benchmarks.</a:t>
            </a:r>
          </a:p>
        </p:txBody>
      </p:sp>
      <p:sp>
        <p:nvSpPr>
          <p:cNvPr id="4" name="CuadroTexto 3">
            <a:extLst>
              <a:ext uri="{FF2B5EF4-FFF2-40B4-BE49-F238E27FC236}">
                <a16:creationId xmlns:a16="http://schemas.microsoft.com/office/drawing/2014/main" id="{0694FE0D-BE50-4FD4-49DB-AA015AF33AA0}"/>
              </a:ext>
            </a:extLst>
          </p:cNvPr>
          <p:cNvSpPr txBox="1"/>
          <p:nvPr/>
        </p:nvSpPr>
        <p:spPr>
          <a:xfrm>
            <a:off x="439259" y="5489323"/>
            <a:ext cx="6070398" cy="1200329"/>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Apple is catching up by focusing on edge efficiency and developer integration. Its hardware-software ecosystem could give it a competitive edge in on-device AI adoption.</a:t>
            </a:r>
            <a:endParaRPr lang="es-ES" dirty="0">
              <a:solidFill>
                <a:schemeClr val="bg1"/>
              </a:solidFill>
              <a:latin typeface="Santander Text" panose="020B0504020201020104" pitchFamily="34" charset="0"/>
            </a:endParaRPr>
          </a:p>
        </p:txBody>
      </p:sp>
      <p:pic>
        <p:nvPicPr>
          <p:cNvPr id="5" name="Imagen 4" descr="Apple AI models outperform rivals in instruction accuracy and human text evaluations across devices and servers.">
            <a:extLst>
              <a:ext uri="{FF2B5EF4-FFF2-40B4-BE49-F238E27FC236}">
                <a16:creationId xmlns:a16="http://schemas.microsoft.com/office/drawing/2014/main" id="{4D1EDF14-CCA4-534C-F6B7-7F07814413D3}"/>
              </a:ext>
            </a:extLst>
          </p:cNvPr>
          <p:cNvPicPr>
            <a:picLocks noChangeAspect="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6666454" y="1665736"/>
            <a:ext cx="5400040" cy="3042285"/>
          </a:xfrm>
          <a:prstGeom prst="rect">
            <a:avLst/>
          </a:prstGeom>
          <a:noFill/>
          <a:ln>
            <a:noFill/>
          </a:ln>
        </p:spPr>
      </p:pic>
      <p:sp>
        <p:nvSpPr>
          <p:cNvPr id="7" name="CuadroTexto 6">
            <a:extLst>
              <a:ext uri="{FF2B5EF4-FFF2-40B4-BE49-F238E27FC236}">
                <a16:creationId xmlns:a16="http://schemas.microsoft.com/office/drawing/2014/main" id="{0CD1FB89-B79A-68F5-F382-C74873F11F94}"/>
              </a:ext>
            </a:extLst>
          </p:cNvPr>
          <p:cNvSpPr txBox="1"/>
          <p:nvPr/>
        </p:nvSpPr>
        <p:spPr>
          <a:xfrm>
            <a:off x="6966946" y="4924544"/>
            <a:ext cx="4641783" cy="1815882"/>
          </a:xfrm>
          <a:prstGeom prst="rect">
            <a:avLst/>
          </a:prstGeom>
          <a:noFill/>
        </p:spPr>
        <p:txBody>
          <a:bodyPr wrap="square">
            <a:spAutoFit/>
          </a:bodyPr>
          <a:lstStyle/>
          <a:p>
            <a:r>
              <a:rPr lang="en-US" sz="1400" b="1" dirty="0">
                <a:latin typeface="Santander Text" panose="020B0504020201020104" pitchFamily="34" charset="0"/>
              </a:rPr>
              <a:t>Links:</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n-US" sz="1400" dirty="0">
                <a:hlinkClick r:id="rId5"/>
              </a:rPr>
              <a:t>Updates to Apple's On-Device and Server Foundation Language Models - Apple Machine Learning Research</a:t>
            </a:r>
            <a:endParaRPr lang="es-ES" sz="1400" dirty="0"/>
          </a:p>
          <a:p>
            <a:pPr marL="285750" indent="-285750">
              <a:buClr>
                <a:srgbClr val="005471"/>
              </a:buClr>
              <a:buFont typeface="Wingdings" panose="05000000000000000000" pitchFamily="2" charset="2"/>
              <a:buChar char="Ø"/>
            </a:pPr>
            <a:r>
              <a:rPr lang="es-ES" sz="1400" dirty="0" err="1">
                <a:hlinkClick r:id="rId6"/>
              </a:rPr>
              <a:t>Foundation</a:t>
            </a:r>
            <a:r>
              <a:rPr lang="es-ES" sz="1400" dirty="0">
                <a:hlinkClick r:id="rId6"/>
              </a:rPr>
              <a:t> </a:t>
            </a:r>
            <a:r>
              <a:rPr lang="es-ES" sz="1400" dirty="0" err="1">
                <a:hlinkClick r:id="rId6"/>
              </a:rPr>
              <a:t>Models</a:t>
            </a:r>
            <a:r>
              <a:rPr lang="es-ES" sz="1400" dirty="0">
                <a:hlinkClick r:id="rId6"/>
              </a:rPr>
              <a:t> | Apple </a:t>
            </a:r>
            <a:r>
              <a:rPr lang="es-ES" sz="1400" dirty="0" err="1">
                <a:hlinkClick r:id="rId6"/>
              </a:rPr>
              <a:t>Developer</a:t>
            </a:r>
            <a:r>
              <a:rPr lang="es-ES" sz="1400" dirty="0">
                <a:hlinkClick r:id="rId6"/>
              </a:rPr>
              <a:t> </a:t>
            </a:r>
            <a:r>
              <a:rPr lang="es-ES" sz="1400" dirty="0" err="1">
                <a:hlinkClick r:id="rId6"/>
              </a:rPr>
              <a:t>Documentation</a:t>
            </a:r>
            <a:endParaRPr lang="es-ES" sz="1400" dirty="0"/>
          </a:p>
          <a:p>
            <a:pPr marL="285750" indent="-285750">
              <a:buClr>
                <a:srgbClr val="005471"/>
              </a:buClr>
              <a:buFont typeface="Wingdings" panose="05000000000000000000" pitchFamily="2" charset="2"/>
              <a:buChar char="Ø"/>
            </a:pPr>
            <a:r>
              <a:rPr lang="en-US" sz="1400" dirty="0">
                <a:hlinkClick r:id="rId7"/>
              </a:rPr>
              <a:t>[1712.05877] Quantization and Training of Neural Networks for Efficient Integer-Arithmetic-Only Inference</a:t>
            </a:r>
            <a:endParaRPr lang="es-ES" sz="1400" dirty="0"/>
          </a:p>
          <a:p>
            <a:pPr marL="285750" indent="-285750">
              <a:buFont typeface="Wingdings" panose="05000000000000000000" pitchFamily="2" charset="2"/>
              <a:buChar char="Ø"/>
            </a:pPr>
            <a:endParaRPr lang="es-ES" sz="1400" dirty="0"/>
          </a:p>
        </p:txBody>
      </p:sp>
    </p:spTree>
    <p:extLst>
      <p:ext uri="{BB962C8B-B14F-4D97-AF65-F5344CB8AC3E}">
        <p14:creationId xmlns:p14="http://schemas.microsoft.com/office/powerpoint/2010/main" val="29412046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5E9CD4-203F-1971-D010-D3FB9565BE76}"/>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3B484C4C-ACBA-F187-2C1F-D605A8F30CDF}"/>
              </a:ext>
            </a:extLst>
          </p:cNvPr>
          <p:cNvSpPr>
            <a:spLocks noGrp="1"/>
          </p:cNvSpPr>
          <p:nvPr>
            <p:ph type="ctrTitle"/>
          </p:nvPr>
        </p:nvSpPr>
        <p:spPr>
          <a:xfrm>
            <a:off x="439259" y="939173"/>
            <a:ext cx="11309829" cy="740981"/>
          </a:xfrm>
        </p:spPr>
        <p:txBody>
          <a:bodyPr/>
          <a:lstStyle/>
          <a:p>
            <a:pPr algn="just"/>
            <a:r>
              <a:rPr lang="en-US" dirty="0"/>
              <a:t>2.6) </a:t>
            </a:r>
            <a:r>
              <a:rPr lang="en-US" dirty="0" err="1"/>
              <a:t>BitNet</a:t>
            </a:r>
            <a:r>
              <a:rPr lang="en-US" dirty="0"/>
              <a:t> b1.58: Lightweight LLM with Strong Performance</a:t>
            </a:r>
          </a:p>
        </p:txBody>
      </p:sp>
      <p:sp>
        <p:nvSpPr>
          <p:cNvPr id="6" name="Marcador de texto 4">
            <a:extLst>
              <a:ext uri="{FF2B5EF4-FFF2-40B4-BE49-F238E27FC236}">
                <a16:creationId xmlns:a16="http://schemas.microsoft.com/office/drawing/2014/main" id="{4D640CA6-3CA2-8440-10D3-BFED64F620AB}"/>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Researchers from Microsoft, the University of Chinese Academy of Sciences, and Tsinghua University introduced a compact </a:t>
            </a:r>
            <a:r>
              <a:rPr lang="en-US" sz="1800" b="1" dirty="0">
                <a:latin typeface="+mn-lt"/>
              </a:rPr>
              <a:t>LLM with highly compressed weights, retaining competitive performance.</a:t>
            </a:r>
          </a:p>
          <a:p>
            <a:pPr marL="285750" indent="-285750" algn="just">
              <a:buClr>
                <a:srgbClr val="C00000"/>
              </a:buClr>
              <a:buFont typeface="Wingdings" panose="05000000000000000000" pitchFamily="2" charset="2"/>
              <a:buChar char="§"/>
            </a:pPr>
            <a:r>
              <a:rPr lang="en-US" sz="1800" b="1" dirty="0"/>
              <a:t>Architecture</a:t>
            </a:r>
            <a:r>
              <a:rPr lang="en-US" sz="1800" dirty="0"/>
              <a:t>: Transformer with 2B parameters using ternary weights (-1, 0, +1), requiring only ~1.58 bits per parameter.</a:t>
            </a:r>
          </a:p>
          <a:p>
            <a:pPr marL="285750" indent="-285750" algn="just">
              <a:buClr>
                <a:srgbClr val="C00000"/>
              </a:buClr>
              <a:buFont typeface="Wingdings" panose="05000000000000000000" pitchFamily="2" charset="2"/>
              <a:buChar char="§"/>
            </a:pPr>
            <a:r>
              <a:rPr lang="en-US" sz="1800" b="1" dirty="0"/>
              <a:t>Method</a:t>
            </a:r>
            <a:r>
              <a:rPr lang="en-US" sz="1800" dirty="0"/>
              <a:t>: Hybrid </a:t>
            </a:r>
            <a:r>
              <a:rPr lang="en-US" sz="1800" b="1" dirty="0"/>
              <a:t>quantized training regime</a:t>
            </a:r>
            <a:r>
              <a:rPr lang="en-US" sz="1800" dirty="0"/>
              <a:t>, multi-phase learning and decay schedules, optimized for reasoning and instruction following.</a:t>
            </a:r>
          </a:p>
          <a:p>
            <a:pPr marL="285750" indent="-285750" algn="just">
              <a:buClr>
                <a:srgbClr val="C00000"/>
              </a:buClr>
              <a:buFont typeface="Wingdings" panose="05000000000000000000" pitchFamily="2" charset="2"/>
              <a:buChar char="§"/>
            </a:pPr>
            <a:r>
              <a:rPr lang="en-US" sz="1800" b="1" dirty="0"/>
              <a:t>Results</a:t>
            </a:r>
            <a:r>
              <a:rPr lang="en-US" sz="1800" dirty="0"/>
              <a:t>: </a:t>
            </a:r>
            <a:r>
              <a:rPr lang="en-US" sz="1800" b="1" dirty="0" err="1"/>
              <a:t>BitNet</a:t>
            </a:r>
            <a:r>
              <a:rPr lang="en-US" sz="1800" b="1" dirty="0"/>
              <a:t> outperformed most small models in accuracy </a:t>
            </a:r>
            <a:r>
              <a:rPr lang="en-US" sz="1800" dirty="0"/>
              <a:t>(54.19%) </a:t>
            </a:r>
            <a:r>
              <a:rPr lang="en-US" sz="1800" b="1" dirty="0"/>
              <a:t>while requiring just 0.4GB memory</a:t>
            </a:r>
            <a:r>
              <a:rPr lang="en-US" sz="1800" dirty="0"/>
              <a:t> </a:t>
            </a:r>
            <a:r>
              <a:rPr lang="en-US" sz="1800" b="1" dirty="0"/>
              <a:t>and generating 2x faster</a:t>
            </a:r>
            <a:r>
              <a:rPr lang="en-US" sz="1800" dirty="0"/>
              <a:t> output than Qwen2.5 1.5B.</a:t>
            </a:r>
            <a:endParaRPr lang="en-US" sz="1800" dirty="0">
              <a:latin typeface="+mn-lt"/>
            </a:endParaRPr>
          </a:p>
        </p:txBody>
      </p:sp>
      <p:sp>
        <p:nvSpPr>
          <p:cNvPr id="4" name="CuadroTexto 3">
            <a:extLst>
              <a:ext uri="{FF2B5EF4-FFF2-40B4-BE49-F238E27FC236}">
                <a16:creationId xmlns:a16="http://schemas.microsoft.com/office/drawing/2014/main" id="{6C273F7D-CCBD-F3F2-7BED-FB9C3AD4A092}"/>
              </a:ext>
            </a:extLst>
          </p:cNvPr>
          <p:cNvSpPr txBox="1"/>
          <p:nvPr/>
        </p:nvSpPr>
        <p:spPr>
          <a:xfrm>
            <a:off x="439259" y="5427508"/>
            <a:ext cx="6070398" cy="1200329"/>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a:t>
            </a:r>
            <a:r>
              <a:rPr lang="en-US" dirty="0" err="1">
                <a:solidFill>
                  <a:schemeClr val="bg1"/>
                </a:solidFill>
                <a:latin typeface="Santander Text" panose="020B0504020201020104" pitchFamily="34" charset="0"/>
              </a:rPr>
              <a:t>BitNet</a:t>
            </a:r>
            <a:r>
              <a:rPr lang="en-US" dirty="0">
                <a:solidFill>
                  <a:schemeClr val="bg1"/>
                </a:solidFill>
                <a:latin typeface="Santander Text" panose="020B0504020201020104" pitchFamily="34" charset="0"/>
              </a:rPr>
              <a:t> demonstrates that with thoughtful design and training, low-precision models can rival full-size competitors—enabling powerful LLMs to run efficiently on low-resource hardware.</a:t>
            </a:r>
            <a:endParaRPr lang="es-ES" dirty="0">
              <a:solidFill>
                <a:schemeClr val="bg1"/>
              </a:solidFill>
              <a:latin typeface="Santander Text" panose="020B0504020201020104" pitchFamily="34" charset="0"/>
            </a:endParaRPr>
          </a:p>
        </p:txBody>
      </p:sp>
      <p:pic>
        <p:nvPicPr>
          <p:cNvPr id="3" name="Imagen 2" descr="BitNet b1.58 matrix shows ternary weights enabling faster, multiplication-free neural network computation using new hardware.">
            <a:extLst>
              <a:ext uri="{FF2B5EF4-FFF2-40B4-BE49-F238E27FC236}">
                <a16:creationId xmlns:a16="http://schemas.microsoft.com/office/drawing/2014/main" id="{11746830-1D8E-AFAB-12AD-9A727657A4F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19109" y="2519082"/>
            <a:ext cx="5004032" cy="2813297"/>
          </a:xfrm>
          <a:prstGeom prst="rect">
            <a:avLst/>
          </a:prstGeom>
          <a:noFill/>
          <a:ln>
            <a:noFill/>
          </a:ln>
        </p:spPr>
      </p:pic>
      <p:sp>
        <p:nvSpPr>
          <p:cNvPr id="5" name="CuadroTexto 4">
            <a:extLst>
              <a:ext uri="{FF2B5EF4-FFF2-40B4-BE49-F238E27FC236}">
                <a16:creationId xmlns:a16="http://schemas.microsoft.com/office/drawing/2014/main" id="{9669191A-B7A2-CC6B-9329-23C6D9190915}"/>
              </a:ext>
            </a:extLst>
          </p:cNvPr>
          <p:cNvSpPr txBox="1"/>
          <p:nvPr/>
        </p:nvSpPr>
        <p:spPr>
          <a:xfrm>
            <a:off x="6919109" y="5442896"/>
            <a:ext cx="4641783" cy="954107"/>
          </a:xfrm>
          <a:prstGeom prst="rect">
            <a:avLst/>
          </a:prstGeom>
          <a:noFill/>
        </p:spPr>
        <p:txBody>
          <a:bodyPr wrap="square">
            <a:spAutoFit/>
          </a:bodyPr>
          <a:lstStyle/>
          <a:p>
            <a:r>
              <a:rPr lang="en-US" sz="1400" b="1" dirty="0">
                <a:latin typeface="Santander Text" panose="020B0504020201020104" pitchFamily="34" charset="0"/>
              </a:rPr>
              <a:t>Links:</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s-ES" sz="1400" dirty="0">
                <a:hlinkClick r:id="rId4"/>
              </a:rPr>
              <a:t>[2504.12285] </a:t>
            </a:r>
            <a:r>
              <a:rPr lang="es-ES" sz="1400" dirty="0" err="1">
                <a:hlinkClick r:id="rId4"/>
              </a:rPr>
              <a:t>BitNet</a:t>
            </a:r>
            <a:r>
              <a:rPr lang="es-ES" sz="1400" dirty="0">
                <a:hlinkClick r:id="rId4"/>
              </a:rPr>
              <a:t> b1.58 2B4T </a:t>
            </a:r>
            <a:r>
              <a:rPr lang="es-ES" sz="1400" dirty="0" err="1">
                <a:hlinkClick r:id="rId4"/>
              </a:rPr>
              <a:t>Technical</a:t>
            </a:r>
            <a:r>
              <a:rPr lang="es-ES" sz="1400" dirty="0">
                <a:hlinkClick r:id="rId4"/>
              </a:rPr>
              <a:t> </a:t>
            </a:r>
            <a:r>
              <a:rPr lang="es-ES" sz="1400" dirty="0" err="1">
                <a:hlinkClick r:id="rId4"/>
              </a:rPr>
              <a:t>Report</a:t>
            </a:r>
            <a:endParaRPr lang="es-ES" sz="1400" dirty="0"/>
          </a:p>
          <a:p>
            <a:pPr marL="285750" indent="-285750">
              <a:buFont typeface="Wingdings" panose="05000000000000000000" pitchFamily="2" charset="2"/>
              <a:buChar char="Ø"/>
            </a:pPr>
            <a:endParaRPr lang="es-ES" sz="1400" dirty="0"/>
          </a:p>
        </p:txBody>
      </p:sp>
    </p:spTree>
    <p:extLst>
      <p:ext uri="{BB962C8B-B14F-4D97-AF65-F5344CB8AC3E}">
        <p14:creationId xmlns:p14="http://schemas.microsoft.com/office/powerpoint/2010/main" val="2085739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450014-FA77-8EEB-6351-059A381C789A}"/>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9E0CA661-A3CD-00A8-76B0-37D044EE79BC}"/>
              </a:ext>
            </a:extLst>
          </p:cNvPr>
          <p:cNvSpPr>
            <a:spLocks noGrp="1"/>
          </p:cNvSpPr>
          <p:nvPr>
            <p:ph type="ctrTitle"/>
          </p:nvPr>
        </p:nvSpPr>
        <p:spPr>
          <a:xfrm>
            <a:off x="439259" y="939173"/>
            <a:ext cx="11309829" cy="740981"/>
          </a:xfrm>
        </p:spPr>
        <p:txBody>
          <a:bodyPr/>
          <a:lstStyle/>
          <a:p>
            <a:pPr algn="just"/>
            <a:r>
              <a:rPr lang="en-US" dirty="0"/>
              <a:t>3.1) Model Context Protocol (MCP) - Overview</a:t>
            </a:r>
          </a:p>
        </p:txBody>
      </p:sp>
      <p:sp>
        <p:nvSpPr>
          <p:cNvPr id="6" name="Marcador de texto 4">
            <a:extLst>
              <a:ext uri="{FF2B5EF4-FFF2-40B4-BE49-F238E27FC236}">
                <a16:creationId xmlns:a16="http://schemas.microsoft.com/office/drawing/2014/main" id="{3B21D5C8-2E81-D7A0-C9FE-DF1A7F622938}"/>
              </a:ext>
            </a:extLst>
          </p:cNvPr>
          <p:cNvSpPr txBox="1">
            <a:spLocks/>
          </p:cNvSpPr>
          <p:nvPr/>
        </p:nvSpPr>
        <p:spPr>
          <a:xfrm>
            <a:off x="439258" y="1441743"/>
            <a:ext cx="11159184" cy="2536699"/>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
            </a:pPr>
            <a:r>
              <a:rPr lang="en-US" sz="1800" b="1" dirty="0">
                <a:latin typeface="+mn-lt"/>
              </a:rPr>
              <a:t>Who would use the MCP protocol?</a:t>
            </a:r>
          </a:p>
          <a:p>
            <a:pPr marL="657225" lvl="1" indent="-285750" algn="just">
              <a:buClr>
                <a:srgbClr val="C00000"/>
              </a:buClr>
              <a:buFont typeface="Courier New" panose="02070309020205020404" pitchFamily="49" charset="0"/>
              <a:buChar char="o"/>
            </a:pPr>
            <a:r>
              <a:rPr lang="en-US" sz="1800" dirty="0">
                <a:latin typeface="+mn-lt"/>
              </a:rPr>
              <a:t>Developers working with AI models or AI Agents —automated systems that can perform tasks like writing reports, checking data, or making recommendations.</a:t>
            </a:r>
          </a:p>
          <a:p>
            <a:pPr marL="285750" indent="-285750" algn="just">
              <a:buClr>
                <a:srgbClr val="C00000"/>
              </a:buClr>
              <a:buFont typeface="Wingdings" panose="05000000000000000000" pitchFamily="2" charset="2"/>
              <a:buChar char="§"/>
            </a:pPr>
            <a:r>
              <a:rPr lang="en-US" sz="1800" b="1" dirty="0">
                <a:latin typeface="+mn-lt"/>
              </a:rPr>
              <a:t>What is MCP used for?</a:t>
            </a:r>
          </a:p>
          <a:p>
            <a:pPr marL="657225" lvl="1" indent="-285750" algn="just">
              <a:buClr>
                <a:srgbClr val="C00000"/>
              </a:buClr>
              <a:buFont typeface="Courier New" panose="02070309020205020404" pitchFamily="49" charset="0"/>
              <a:buChar char="o"/>
            </a:pPr>
            <a:r>
              <a:rPr lang="en-US" sz="1800" dirty="0">
                <a:latin typeface="+mn-lt"/>
              </a:rPr>
              <a:t>To easily connect an AI model to tools and data sources in order to build AI Agents.</a:t>
            </a:r>
          </a:p>
          <a:p>
            <a:pPr marL="657225" lvl="1" indent="-285750" algn="just">
              <a:buClr>
                <a:srgbClr val="C00000"/>
              </a:buClr>
              <a:buFont typeface="Courier New" panose="02070309020205020404" pitchFamily="49" charset="0"/>
              <a:buChar char="o"/>
            </a:pPr>
            <a:r>
              <a:rPr lang="en-US" sz="1800" dirty="0">
                <a:latin typeface="+mn-lt"/>
              </a:rPr>
              <a:t>MCP acts like a universal adapter, instead of building a custom connection for every tool, MCP allows the model to connect in a standardized, fast, and secure way.</a:t>
            </a:r>
          </a:p>
          <a:p>
            <a:pPr algn="just">
              <a:buClr>
                <a:srgbClr val="C00000"/>
              </a:buClr>
            </a:pPr>
            <a:endParaRPr lang="en-US" sz="1600" dirty="0">
              <a:latin typeface="+mn-lt"/>
            </a:endParaRPr>
          </a:p>
        </p:txBody>
      </p:sp>
      <p:pic>
        <p:nvPicPr>
          <p:cNvPr id="2053" name="Picture 5" descr="AD 4nXe0TWd0jXqSVS1JL5T7cI pUWwoc0qQsIzMf5lMU95Vmi8q3BGJOeRgTkbsOqk Ve chQtQVilGtlvqukQiVj0m 12cyevyNHNayufsSs3FDuTVVkskpOXrmAkwSt7vOKSpn4a1rAM5UblOrA61Q?key=EHjDwGC9j0UMKzZw csgIg">
            <a:extLst>
              <a:ext uri="{FF2B5EF4-FFF2-40B4-BE49-F238E27FC236}">
                <a16:creationId xmlns:a16="http://schemas.microsoft.com/office/drawing/2014/main" id="{D783DC65-FA48-4850-B0B2-789B0A589F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0960" y="3625040"/>
            <a:ext cx="6866020" cy="3156760"/>
          </a:xfrm>
          <a:prstGeom prst="rect">
            <a:avLst/>
          </a:prstGeom>
          <a:noFill/>
          <a:extLst>
            <a:ext uri="{909E8E84-426E-40DD-AFC4-6F175D3DCCD1}">
              <a14:hiddenFill xmlns:a14="http://schemas.microsoft.com/office/drawing/2010/main">
                <a:solidFill>
                  <a:srgbClr val="FFFFFF"/>
                </a:solidFill>
              </a14:hiddenFill>
            </a:ext>
          </a:extLst>
        </p:spPr>
      </p:pic>
      <p:sp>
        <p:nvSpPr>
          <p:cNvPr id="7" name="Rectángulo 6">
            <a:extLst>
              <a:ext uri="{FF2B5EF4-FFF2-40B4-BE49-F238E27FC236}">
                <a16:creationId xmlns:a16="http://schemas.microsoft.com/office/drawing/2014/main" id="{507844BC-F6B9-0F35-F10C-F27DEBDC428A}"/>
              </a:ext>
            </a:extLst>
          </p:cNvPr>
          <p:cNvSpPr/>
          <p:nvPr/>
        </p:nvSpPr>
        <p:spPr>
          <a:xfrm>
            <a:off x="7058025" y="3543300"/>
            <a:ext cx="2297530" cy="3257550"/>
          </a:xfrm>
          <a:prstGeom prst="rect">
            <a:avLst/>
          </a:prstGeom>
          <a:noFill/>
          <a:ln w="1905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40521937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036B9-6F04-8396-F03C-5A26B6EF2F7B}"/>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3CB50A5F-B4BA-84D5-1CDB-563F3D5B3435}"/>
              </a:ext>
            </a:extLst>
          </p:cNvPr>
          <p:cNvSpPr>
            <a:spLocks noGrp="1"/>
          </p:cNvSpPr>
          <p:nvPr>
            <p:ph type="ctrTitle"/>
          </p:nvPr>
        </p:nvSpPr>
        <p:spPr>
          <a:xfrm>
            <a:off x="439259" y="939173"/>
            <a:ext cx="11309829" cy="740981"/>
          </a:xfrm>
        </p:spPr>
        <p:txBody>
          <a:bodyPr/>
          <a:lstStyle/>
          <a:p>
            <a:pPr algn="just"/>
            <a:r>
              <a:rPr lang="en-US" dirty="0"/>
              <a:t>3.1) Model Context Protocol (MCP) – Technical Overview</a:t>
            </a:r>
          </a:p>
        </p:txBody>
      </p:sp>
      <p:sp>
        <p:nvSpPr>
          <p:cNvPr id="6" name="Marcador de texto 4">
            <a:extLst>
              <a:ext uri="{FF2B5EF4-FFF2-40B4-BE49-F238E27FC236}">
                <a16:creationId xmlns:a16="http://schemas.microsoft.com/office/drawing/2014/main" id="{9FBF27E5-260A-49DB-C504-57521E6D0ECC}"/>
              </a:ext>
            </a:extLst>
          </p:cNvPr>
          <p:cNvSpPr txBox="1">
            <a:spLocks/>
          </p:cNvSpPr>
          <p:nvPr/>
        </p:nvSpPr>
        <p:spPr>
          <a:xfrm>
            <a:off x="439258" y="1441743"/>
            <a:ext cx="5504341" cy="5118545"/>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
            </a:pPr>
            <a:r>
              <a:rPr lang="en-US" sz="1800" b="1" dirty="0">
                <a:latin typeface="+mn-lt"/>
              </a:rPr>
              <a:t>Purpose</a:t>
            </a:r>
            <a:r>
              <a:rPr lang="en-US" sz="1800" dirty="0">
                <a:latin typeface="+mn-lt"/>
              </a:rPr>
              <a:t>: Simplify and standardize how AI models connect with external systems, reducing the need for bespoke integrations for each use case. </a:t>
            </a:r>
          </a:p>
          <a:p>
            <a:pPr marL="285750" indent="-285750" algn="just">
              <a:buClr>
                <a:srgbClr val="C00000"/>
              </a:buClr>
              <a:buFont typeface="Wingdings" panose="05000000000000000000" pitchFamily="2" charset="2"/>
              <a:buChar char="§"/>
            </a:pPr>
            <a:r>
              <a:rPr lang="en-US" sz="1800" b="1" dirty="0">
                <a:latin typeface="+mn-lt"/>
              </a:rPr>
              <a:t>Definition</a:t>
            </a:r>
            <a:r>
              <a:rPr lang="en-US" sz="1800" dirty="0">
                <a:latin typeface="+mn-lt"/>
              </a:rPr>
              <a:t>: MCP is an open standard developed by Anthropic in 2024 that allows language models (LLMs) to interact securely and consistently with external tools, data sources, and services.</a:t>
            </a:r>
          </a:p>
          <a:p>
            <a:pPr marL="285750" indent="-285750" algn="just">
              <a:buClr>
                <a:srgbClr val="C00000"/>
              </a:buClr>
              <a:buFont typeface="Wingdings" panose="05000000000000000000" pitchFamily="2" charset="2"/>
              <a:buChar char="§"/>
            </a:pPr>
            <a:r>
              <a:rPr lang="en-US" sz="1800" b="1" dirty="0">
                <a:latin typeface="+mn-lt"/>
              </a:rPr>
              <a:t>Analogy</a:t>
            </a:r>
            <a:r>
              <a:rPr lang="en-US" sz="1800" dirty="0">
                <a:latin typeface="+mn-lt"/>
              </a:rPr>
              <a:t>: It acts like a “USB-C for AI”, enabling universal plug-and-play connections between models and systems—no need for custom integrations.</a:t>
            </a:r>
          </a:p>
          <a:p>
            <a:pPr marL="285750" indent="-285750" algn="just">
              <a:buClr>
                <a:srgbClr val="C00000"/>
              </a:buClr>
              <a:buFont typeface="Wingdings" panose="05000000000000000000" pitchFamily="2" charset="2"/>
              <a:buChar char="§"/>
            </a:pPr>
            <a:r>
              <a:rPr lang="en-US" sz="1800" b="1" dirty="0">
                <a:latin typeface="+mn-lt"/>
              </a:rPr>
              <a:t>Architecture</a:t>
            </a:r>
            <a:r>
              <a:rPr lang="en-US" sz="1800" dirty="0">
                <a:latin typeface="+mn-lt"/>
              </a:rPr>
              <a:t>:</a:t>
            </a:r>
          </a:p>
          <a:p>
            <a:pPr marL="714375" lvl="1" indent="-342900" algn="just">
              <a:buClr>
                <a:srgbClr val="C00000"/>
              </a:buClr>
              <a:buFont typeface="Courier New" panose="02070309020205020404" pitchFamily="49" charset="0"/>
              <a:buChar char="o"/>
            </a:pPr>
            <a:r>
              <a:rPr lang="en-US" sz="1600" dirty="0">
                <a:latin typeface="+mn-lt"/>
              </a:rPr>
              <a:t>MCP Host: The application running the AI model (e.g., Claude Desktop).</a:t>
            </a:r>
          </a:p>
          <a:p>
            <a:pPr marL="714375" lvl="1" indent="-342900" algn="just">
              <a:buClr>
                <a:srgbClr val="C00000"/>
              </a:buClr>
              <a:buFont typeface="Courier New" panose="02070309020205020404" pitchFamily="49" charset="0"/>
              <a:buChar char="o"/>
            </a:pPr>
            <a:r>
              <a:rPr lang="en-US" sz="1600" dirty="0">
                <a:latin typeface="+mn-lt"/>
              </a:rPr>
              <a:t>MCP Client: Connects the host to MCP servers.</a:t>
            </a:r>
          </a:p>
          <a:p>
            <a:pPr marL="714375" lvl="1" indent="-342900" algn="just">
              <a:buClr>
                <a:srgbClr val="C00000"/>
              </a:buClr>
              <a:buFont typeface="Courier New" panose="02070309020205020404" pitchFamily="49" charset="0"/>
              <a:buChar char="o"/>
            </a:pPr>
            <a:r>
              <a:rPr lang="en-US" sz="1600" dirty="0">
                <a:latin typeface="+mn-lt"/>
              </a:rPr>
              <a:t>MCP Server: Exposes data, tools, or prompts that the model can access.</a:t>
            </a:r>
          </a:p>
        </p:txBody>
      </p:sp>
      <p:pic>
        <p:nvPicPr>
          <p:cNvPr id="5" name="Picture 2" descr="What is MCP?">
            <a:extLst>
              <a:ext uri="{FF2B5EF4-FFF2-40B4-BE49-F238E27FC236}">
                <a16:creationId xmlns:a16="http://schemas.microsoft.com/office/drawing/2014/main" id="{1AF39782-B913-A366-1650-F566288190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4746" y="1880904"/>
            <a:ext cx="5504341" cy="3096192"/>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a:extLst>
              <a:ext uri="{FF2B5EF4-FFF2-40B4-BE49-F238E27FC236}">
                <a16:creationId xmlns:a16="http://schemas.microsoft.com/office/drawing/2014/main" id="{2770C854-4364-2D8A-1270-61ABB6CBCDD9}"/>
              </a:ext>
            </a:extLst>
          </p:cNvPr>
          <p:cNvSpPr txBox="1"/>
          <p:nvPr/>
        </p:nvSpPr>
        <p:spPr>
          <a:xfrm>
            <a:off x="6244745" y="5177846"/>
            <a:ext cx="5504341" cy="1077218"/>
          </a:xfrm>
          <a:prstGeom prst="rect">
            <a:avLst/>
          </a:prstGeom>
          <a:solidFill>
            <a:srgbClr val="C00000"/>
          </a:solidFill>
        </p:spPr>
        <p:txBody>
          <a:bodyPr wrap="square">
            <a:spAutoFit/>
          </a:bodyPr>
          <a:lstStyle/>
          <a:p>
            <a:pPr algn="just"/>
            <a:r>
              <a:rPr lang="en-US" sz="1600" b="1" dirty="0">
                <a:solidFill>
                  <a:schemeClr val="bg1"/>
                </a:solidFill>
                <a:latin typeface="Santander Text" panose="020B0504020201020104" pitchFamily="34" charset="0"/>
              </a:rPr>
              <a:t>ACP </a:t>
            </a:r>
            <a:r>
              <a:rPr lang="en-US" sz="1600" dirty="0">
                <a:solidFill>
                  <a:schemeClr val="bg1"/>
                </a:solidFill>
                <a:latin typeface="Santander Text" panose="020B0504020201020104" pitchFamily="34" charset="0"/>
              </a:rPr>
              <a:t>is an alternative to MCP, developed by </a:t>
            </a:r>
            <a:r>
              <a:rPr lang="en-US" sz="1600" b="1" dirty="0">
                <a:solidFill>
                  <a:schemeClr val="bg1"/>
                </a:solidFill>
                <a:latin typeface="Santander Text" panose="020B0504020201020104" pitchFamily="34" charset="0"/>
              </a:rPr>
              <a:t>OpenAI </a:t>
            </a:r>
            <a:r>
              <a:rPr lang="en-US" sz="1600" dirty="0">
                <a:solidFill>
                  <a:schemeClr val="bg1"/>
                </a:solidFill>
                <a:latin typeface="Santander Text" panose="020B0504020201020104" pitchFamily="34" charset="0"/>
              </a:rPr>
              <a:t>in 2024. While MCP focuses on connecting AI models to external tools and data, ACP is designed to enable structured communication between multiple AI agents—and between agents and tools.</a:t>
            </a:r>
            <a:endParaRPr lang="es-ES" sz="1600" dirty="0">
              <a:solidFill>
                <a:schemeClr val="bg1"/>
              </a:solidFill>
              <a:latin typeface="Santander Text" panose="020B0504020201020104" pitchFamily="34" charset="0"/>
            </a:endParaRPr>
          </a:p>
        </p:txBody>
      </p:sp>
    </p:spTree>
    <p:extLst>
      <p:ext uri="{BB962C8B-B14F-4D97-AF65-F5344CB8AC3E}">
        <p14:creationId xmlns:p14="http://schemas.microsoft.com/office/powerpoint/2010/main" val="29154227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D35AAB-0577-1900-9B5D-D6DC50402698}"/>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CDD50659-7C2F-6A37-36F5-5B679EBF6144}"/>
              </a:ext>
            </a:extLst>
          </p:cNvPr>
          <p:cNvSpPr>
            <a:spLocks noGrp="1"/>
          </p:cNvSpPr>
          <p:nvPr>
            <p:ph type="ctrTitle"/>
          </p:nvPr>
        </p:nvSpPr>
        <p:spPr>
          <a:xfrm>
            <a:off x="439259" y="939173"/>
            <a:ext cx="11309829" cy="740981"/>
          </a:xfrm>
        </p:spPr>
        <p:txBody>
          <a:bodyPr/>
          <a:lstStyle/>
          <a:p>
            <a:pPr algn="just"/>
            <a:r>
              <a:rPr lang="en-US" dirty="0"/>
              <a:t>3.1) Model Context Protocol (MCP) - Why is MCP Relevant Now?</a:t>
            </a:r>
          </a:p>
        </p:txBody>
      </p:sp>
      <p:sp>
        <p:nvSpPr>
          <p:cNvPr id="6" name="Marcador de texto 4">
            <a:extLst>
              <a:ext uri="{FF2B5EF4-FFF2-40B4-BE49-F238E27FC236}">
                <a16:creationId xmlns:a16="http://schemas.microsoft.com/office/drawing/2014/main" id="{203F4BF5-AC07-DCAB-FEFC-3C294CF058E5}"/>
              </a:ext>
            </a:extLst>
          </p:cNvPr>
          <p:cNvSpPr txBox="1">
            <a:spLocks/>
          </p:cNvSpPr>
          <p:nvPr/>
        </p:nvSpPr>
        <p:spPr>
          <a:xfrm>
            <a:off x="439258" y="1441744"/>
            <a:ext cx="5504341" cy="3958931"/>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285750" indent="-285750" algn="just">
              <a:buClr>
                <a:srgbClr val="C00000"/>
              </a:buClr>
              <a:buFont typeface="Wingdings" panose="05000000000000000000" pitchFamily="2" charset="2"/>
              <a:buChar char="§"/>
            </a:pPr>
            <a:r>
              <a:rPr lang="en-US" sz="1600" b="1" dirty="0">
                <a:latin typeface="+mn-lt"/>
              </a:rPr>
              <a:t>MCP Advantages:</a:t>
            </a:r>
          </a:p>
          <a:p>
            <a:pPr marL="714375" lvl="1" indent="-342900" algn="just">
              <a:buClr>
                <a:srgbClr val="C00000"/>
              </a:buClr>
              <a:buFont typeface="Courier New" panose="02070309020205020404" pitchFamily="49" charset="0"/>
              <a:buChar char="o"/>
            </a:pPr>
            <a:r>
              <a:rPr lang="en-US" sz="1600" dirty="0">
                <a:latin typeface="+mn-lt"/>
              </a:rPr>
              <a:t>Enables dynamic discovery of available tools and services.</a:t>
            </a:r>
          </a:p>
          <a:p>
            <a:pPr marL="714375" lvl="1" indent="-342900" algn="just">
              <a:buClr>
                <a:srgbClr val="C00000"/>
              </a:buClr>
              <a:buFont typeface="Courier New" panose="02070309020205020404" pitchFamily="49" charset="0"/>
              <a:buChar char="o"/>
            </a:pPr>
            <a:r>
              <a:rPr lang="en-US" sz="1600" dirty="0">
                <a:latin typeface="+mn-lt"/>
              </a:rPr>
              <a:t>Facilitates real-time, two-way communication between models and external systems.</a:t>
            </a:r>
          </a:p>
          <a:p>
            <a:pPr marL="714375" lvl="1" indent="-342900" algn="just">
              <a:buClr>
                <a:srgbClr val="C00000"/>
              </a:buClr>
              <a:buFont typeface="Courier New" panose="02070309020205020404" pitchFamily="49" charset="0"/>
              <a:buChar char="o"/>
            </a:pPr>
            <a:r>
              <a:rPr lang="en-US" sz="1600" dirty="0">
                <a:latin typeface="+mn-lt"/>
              </a:rPr>
              <a:t>Reduces complexity and integration costs.</a:t>
            </a:r>
          </a:p>
          <a:p>
            <a:pPr marL="285750" indent="-285750" algn="just">
              <a:buClr>
                <a:srgbClr val="C00000"/>
              </a:buClr>
              <a:buFont typeface="Wingdings" panose="05000000000000000000" pitchFamily="2" charset="2"/>
              <a:buChar char="§"/>
            </a:pPr>
            <a:r>
              <a:rPr lang="en-US" sz="1600" b="1" dirty="0">
                <a:latin typeface="+mn-lt"/>
              </a:rPr>
              <a:t>Growing Adoption:</a:t>
            </a:r>
          </a:p>
          <a:p>
            <a:pPr marL="714375" lvl="1" indent="-342900" algn="just">
              <a:buClr>
                <a:srgbClr val="C00000"/>
              </a:buClr>
              <a:buFont typeface="Courier New" panose="02070309020205020404" pitchFamily="49" charset="0"/>
              <a:buChar char="o"/>
            </a:pPr>
            <a:r>
              <a:rPr lang="en-US" sz="1600" dirty="0">
                <a:latin typeface="+mn-lt"/>
              </a:rPr>
              <a:t>Companies like OpenAI, Google DeepMind, and Microsoft are exploring or supporting MCP-like approaches—signaling a broader move toward standardization.</a:t>
            </a:r>
          </a:p>
          <a:p>
            <a:pPr marL="285750" indent="-285750" algn="just">
              <a:buClr>
                <a:srgbClr val="C00000"/>
              </a:buClr>
              <a:buFont typeface="Wingdings" panose="05000000000000000000" pitchFamily="2" charset="2"/>
              <a:buChar char="§"/>
            </a:pPr>
            <a:r>
              <a:rPr lang="en-US" sz="1600" b="1" dirty="0">
                <a:latin typeface="+mn-lt"/>
              </a:rPr>
              <a:t>Current Challenges:</a:t>
            </a:r>
          </a:p>
          <a:p>
            <a:pPr marL="714375" lvl="1" indent="-342900" algn="just">
              <a:buClr>
                <a:srgbClr val="C00000"/>
              </a:buClr>
              <a:buFont typeface="Courier New" panose="02070309020205020404" pitchFamily="49" charset="0"/>
              <a:buChar char="o"/>
            </a:pPr>
            <a:r>
              <a:rPr lang="en-US" sz="1600" dirty="0">
                <a:latin typeface="+mn-lt"/>
              </a:rPr>
              <a:t>Models need custom integration for each tool or data source.</a:t>
            </a:r>
          </a:p>
          <a:p>
            <a:pPr marL="714375" lvl="1" indent="-342900" algn="just">
              <a:buClr>
                <a:srgbClr val="C00000"/>
              </a:buClr>
              <a:buFont typeface="Courier New" panose="02070309020205020404" pitchFamily="49" charset="0"/>
              <a:buChar char="o"/>
            </a:pPr>
            <a:r>
              <a:rPr lang="en-US" sz="1600" dirty="0">
                <a:latin typeface="+mn-lt"/>
              </a:rPr>
              <a:t>Difficulties in maintaining coherent context across systems.</a:t>
            </a:r>
          </a:p>
        </p:txBody>
      </p:sp>
      <p:pic>
        <p:nvPicPr>
          <p:cNvPr id="3" name="Picture 2" descr="Why use MCP instead of traditional APIs?">
            <a:extLst>
              <a:ext uri="{FF2B5EF4-FFF2-40B4-BE49-F238E27FC236}">
                <a16:creationId xmlns:a16="http://schemas.microsoft.com/office/drawing/2014/main" id="{EC52D2A8-43D1-AAD3-3F56-C162A02EC9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75036" y="1680154"/>
            <a:ext cx="4563029" cy="2566704"/>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n 6">
            <a:extLst>
              <a:ext uri="{FF2B5EF4-FFF2-40B4-BE49-F238E27FC236}">
                <a16:creationId xmlns:a16="http://schemas.microsoft.com/office/drawing/2014/main" id="{3E2BAD58-EC0C-64AC-792A-0560325290C3}"/>
              </a:ext>
            </a:extLst>
          </p:cNvPr>
          <p:cNvPicPr>
            <a:picLocks noChangeAspect="1"/>
          </p:cNvPicPr>
          <p:nvPr/>
        </p:nvPicPr>
        <p:blipFill>
          <a:blip r:embed="rId4"/>
          <a:stretch>
            <a:fillRect/>
          </a:stretch>
        </p:blipFill>
        <p:spPr>
          <a:xfrm>
            <a:off x="7413184" y="4551231"/>
            <a:ext cx="3686734" cy="1868619"/>
          </a:xfrm>
          <a:prstGeom prst="rect">
            <a:avLst/>
          </a:prstGeom>
        </p:spPr>
      </p:pic>
      <p:sp>
        <p:nvSpPr>
          <p:cNvPr id="8" name="CuadroTexto 7">
            <a:extLst>
              <a:ext uri="{FF2B5EF4-FFF2-40B4-BE49-F238E27FC236}">
                <a16:creationId xmlns:a16="http://schemas.microsoft.com/office/drawing/2014/main" id="{17E2CC10-462C-A17F-6BE1-630965DC4E1E}"/>
              </a:ext>
            </a:extLst>
          </p:cNvPr>
          <p:cNvSpPr txBox="1"/>
          <p:nvPr/>
        </p:nvSpPr>
        <p:spPr>
          <a:xfrm>
            <a:off x="439258" y="5485540"/>
            <a:ext cx="4641783" cy="1169551"/>
          </a:xfrm>
          <a:prstGeom prst="rect">
            <a:avLst/>
          </a:prstGeom>
          <a:noFill/>
        </p:spPr>
        <p:txBody>
          <a:bodyPr wrap="square">
            <a:spAutoFit/>
          </a:bodyPr>
          <a:lstStyle/>
          <a:p>
            <a:r>
              <a:rPr lang="en-US" sz="1400" b="1" dirty="0">
                <a:latin typeface="Santander Text" panose="020B0504020201020104" pitchFamily="34" charset="0"/>
              </a:rPr>
              <a:t>Links:</a:t>
            </a:r>
          </a:p>
          <a:p>
            <a:pPr marL="285750" indent="-285750">
              <a:buFont typeface="Wingdings" panose="05000000000000000000" pitchFamily="2" charset="2"/>
              <a:buChar char="Ø"/>
            </a:pPr>
            <a:r>
              <a:rPr lang="es-ES" sz="1400" dirty="0">
                <a:hlinkClick r:id="rId5"/>
              </a:rPr>
              <a:t>https://norahsakal.com/blog/mcp-vs-api-model-context-protocol-explained/</a:t>
            </a:r>
            <a:endParaRPr lang="en-US" sz="1400" dirty="0"/>
          </a:p>
          <a:p>
            <a:pPr marL="285750" indent="-285750">
              <a:buClr>
                <a:srgbClr val="005471"/>
              </a:buClr>
              <a:buFont typeface="Wingdings" panose="05000000000000000000" pitchFamily="2" charset="2"/>
              <a:buChar char="Ø"/>
            </a:pPr>
            <a:r>
              <a:rPr lang="es-ES" sz="1400" dirty="0">
                <a:hlinkClick r:id="rId6"/>
              </a:rPr>
              <a:t>https://apidog.com/es/blog/mcp-servers-explained-2/</a:t>
            </a:r>
            <a:endParaRPr lang="es-ES" sz="1400" dirty="0"/>
          </a:p>
          <a:p>
            <a:pPr marL="285750" indent="-285750">
              <a:buFont typeface="Wingdings" panose="05000000000000000000" pitchFamily="2" charset="2"/>
              <a:buChar char="Ø"/>
            </a:pPr>
            <a:endParaRPr lang="es-ES" sz="1400" dirty="0"/>
          </a:p>
        </p:txBody>
      </p:sp>
    </p:spTree>
    <p:extLst>
      <p:ext uri="{BB962C8B-B14F-4D97-AF65-F5344CB8AC3E}">
        <p14:creationId xmlns:p14="http://schemas.microsoft.com/office/powerpoint/2010/main" val="2610362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6CF051-CC63-5751-D398-BC51FC6F6D2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A857DD70-F044-4C82-3106-B38F77D19FAB}"/>
              </a:ext>
            </a:extLst>
          </p:cNvPr>
          <p:cNvSpPr>
            <a:spLocks noGrp="1"/>
          </p:cNvSpPr>
          <p:nvPr>
            <p:ph type="ctrTitle"/>
          </p:nvPr>
        </p:nvSpPr>
        <p:spPr>
          <a:xfrm>
            <a:off x="439259" y="939173"/>
            <a:ext cx="11309829" cy="740981"/>
          </a:xfrm>
        </p:spPr>
        <p:txBody>
          <a:bodyPr/>
          <a:lstStyle/>
          <a:p>
            <a:pPr algn="just"/>
            <a:r>
              <a:rPr lang="en-US" dirty="0"/>
              <a:t>3.2) How Anthropic Built a Multi-Agent Research System</a:t>
            </a:r>
          </a:p>
        </p:txBody>
      </p:sp>
      <p:pic>
        <p:nvPicPr>
          <p:cNvPr id="3074" name="Picture 2">
            <a:extLst>
              <a:ext uri="{FF2B5EF4-FFF2-40B4-BE49-F238E27FC236}">
                <a16:creationId xmlns:a16="http://schemas.microsoft.com/office/drawing/2014/main" id="{81E710DC-E1A0-0C0F-AFC2-83F6CF8F82F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7239" b="27291"/>
          <a:stretch/>
        </p:blipFill>
        <p:spPr bwMode="auto">
          <a:xfrm>
            <a:off x="6510528" y="1309663"/>
            <a:ext cx="5294732" cy="5219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Marcador de texto 4">
            <a:extLst>
              <a:ext uri="{FF2B5EF4-FFF2-40B4-BE49-F238E27FC236}">
                <a16:creationId xmlns:a16="http://schemas.microsoft.com/office/drawing/2014/main" id="{873D8FB8-7286-2976-8339-A9611079D746}"/>
              </a:ext>
            </a:extLst>
          </p:cNvPr>
          <p:cNvSpPr txBox="1">
            <a:spLocks/>
          </p:cNvSpPr>
          <p:nvPr/>
        </p:nvSpPr>
        <p:spPr>
          <a:xfrm>
            <a:off x="439259" y="1818167"/>
            <a:ext cx="6071269" cy="4418041"/>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b="1" dirty="0">
                <a:latin typeface="+mn-lt"/>
              </a:rPr>
              <a:t>Purpose</a:t>
            </a:r>
          </a:p>
          <a:p>
            <a:pPr algn="just">
              <a:buClr>
                <a:srgbClr val="C00000"/>
              </a:buClr>
            </a:pPr>
            <a:r>
              <a:rPr lang="en-US" sz="1800" dirty="0">
                <a:latin typeface="+mn-lt"/>
              </a:rPr>
              <a:t>Claude's new Research feature uses multiple AI agents to solve complex tasks more efficiently—such as exploring the web, analyzing documents, and summarizing insights.</a:t>
            </a:r>
          </a:p>
          <a:p>
            <a:pPr algn="just">
              <a:buClr>
                <a:srgbClr val="C00000"/>
              </a:buClr>
            </a:pPr>
            <a:r>
              <a:rPr lang="en-US" sz="1800" b="1" dirty="0">
                <a:latin typeface="+mn-lt"/>
              </a:rPr>
              <a:t>How It Works</a:t>
            </a:r>
          </a:p>
          <a:p>
            <a:pPr marL="285750" indent="-285750" algn="just">
              <a:buClr>
                <a:srgbClr val="C00000"/>
              </a:buClr>
              <a:buFont typeface="Wingdings" panose="05000000000000000000" pitchFamily="2" charset="2"/>
              <a:buChar char="§"/>
            </a:pPr>
            <a:r>
              <a:rPr lang="en-US" sz="1800" dirty="0">
                <a:latin typeface="+mn-lt"/>
              </a:rPr>
              <a:t>A Lead Agent plans the research process.</a:t>
            </a:r>
          </a:p>
          <a:p>
            <a:pPr marL="285750" indent="-285750" algn="just">
              <a:buClr>
                <a:srgbClr val="C00000"/>
              </a:buClr>
              <a:buFont typeface="Wingdings" panose="05000000000000000000" pitchFamily="2" charset="2"/>
              <a:buChar char="§"/>
            </a:pPr>
            <a:r>
              <a:rPr lang="en-US" sz="1800" dirty="0">
                <a:latin typeface="+mn-lt"/>
              </a:rPr>
              <a:t>It creates Subagents that search different topics in parallel.</a:t>
            </a:r>
          </a:p>
          <a:p>
            <a:pPr marL="285750" indent="-285750" algn="just">
              <a:buClr>
                <a:srgbClr val="C00000"/>
              </a:buClr>
              <a:buFont typeface="Wingdings" panose="05000000000000000000" pitchFamily="2" charset="2"/>
              <a:buChar char="§"/>
            </a:pPr>
            <a:r>
              <a:rPr lang="en-US" sz="1800" dirty="0">
                <a:latin typeface="+mn-lt"/>
              </a:rPr>
              <a:t>Results are combined into a high-quality, cited answer.</a:t>
            </a:r>
          </a:p>
          <a:p>
            <a:pPr algn="just">
              <a:buClr>
                <a:srgbClr val="C00000"/>
              </a:buClr>
            </a:pPr>
            <a:r>
              <a:rPr lang="en-US" sz="1800" b="1" dirty="0">
                <a:latin typeface="+mn-lt"/>
              </a:rPr>
              <a:t>Why Multi-Agent?</a:t>
            </a:r>
          </a:p>
          <a:p>
            <a:pPr marL="285750" indent="-285750" algn="just">
              <a:buClr>
                <a:srgbClr val="C00000"/>
              </a:buClr>
              <a:buFont typeface="Wingdings" panose="05000000000000000000" pitchFamily="2" charset="2"/>
              <a:buChar char="§"/>
            </a:pPr>
            <a:r>
              <a:rPr lang="en-US" sz="1800" dirty="0">
                <a:latin typeface="+mn-lt"/>
              </a:rPr>
              <a:t>Handles open-ended tasks better than single models.</a:t>
            </a:r>
          </a:p>
          <a:p>
            <a:pPr marL="285750" indent="-285750" algn="just">
              <a:buClr>
                <a:srgbClr val="C00000"/>
              </a:buClr>
              <a:buFont typeface="Wingdings" panose="05000000000000000000" pitchFamily="2" charset="2"/>
              <a:buChar char="§"/>
            </a:pPr>
            <a:r>
              <a:rPr lang="en-US" sz="1800" dirty="0">
                <a:latin typeface="+mn-lt"/>
              </a:rPr>
              <a:t>Explores more directions in less time.</a:t>
            </a:r>
          </a:p>
          <a:p>
            <a:pPr marL="285750" indent="-285750" algn="just">
              <a:buClr>
                <a:srgbClr val="C00000"/>
              </a:buClr>
              <a:buFont typeface="Wingdings" panose="05000000000000000000" pitchFamily="2" charset="2"/>
              <a:buChar char="§"/>
            </a:pPr>
            <a:r>
              <a:rPr lang="en-US" sz="1800" dirty="0">
                <a:latin typeface="+mn-lt"/>
              </a:rPr>
              <a:t>Performs significantly better (+90%) on complex queries than single-agent setups.</a:t>
            </a:r>
          </a:p>
        </p:txBody>
      </p:sp>
    </p:spTree>
    <p:extLst>
      <p:ext uri="{BB962C8B-B14F-4D97-AF65-F5344CB8AC3E}">
        <p14:creationId xmlns:p14="http://schemas.microsoft.com/office/powerpoint/2010/main" val="37117745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67CC4-38AE-CF84-F43A-9F748B46AAE2}"/>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74EC88D4-29F6-1915-34A0-EE41C4572729}"/>
              </a:ext>
            </a:extLst>
          </p:cNvPr>
          <p:cNvSpPr>
            <a:spLocks noGrp="1"/>
          </p:cNvSpPr>
          <p:nvPr>
            <p:ph type="ctrTitle"/>
          </p:nvPr>
        </p:nvSpPr>
        <p:spPr>
          <a:xfrm>
            <a:off x="439259" y="939173"/>
            <a:ext cx="11309829" cy="740981"/>
          </a:xfrm>
        </p:spPr>
        <p:txBody>
          <a:bodyPr/>
          <a:lstStyle/>
          <a:p>
            <a:pPr algn="just"/>
            <a:r>
              <a:rPr lang="en-US" dirty="0"/>
              <a:t>3.2) How Anthropic Built a Multi-Agent Research System - Key Learnings for Multi-Agent AI Systems &amp; Proposed use cases</a:t>
            </a:r>
          </a:p>
        </p:txBody>
      </p:sp>
      <p:sp>
        <p:nvSpPr>
          <p:cNvPr id="6" name="Marcador de texto 4">
            <a:extLst>
              <a:ext uri="{FF2B5EF4-FFF2-40B4-BE49-F238E27FC236}">
                <a16:creationId xmlns:a16="http://schemas.microsoft.com/office/drawing/2014/main" id="{DE4D5B50-1351-28CB-4F5D-0070EA0F075C}"/>
              </a:ext>
            </a:extLst>
          </p:cNvPr>
          <p:cNvSpPr txBox="1">
            <a:spLocks/>
          </p:cNvSpPr>
          <p:nvPr/>
        </p:nvSpPr>
        <p:spPr>
          <a:xfrm>
            <a:off x="439259" y="1818167"/>
            <a:ext cx="6866798" cy="5039833"/>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b="1" dirty="0">
                <a:latin typeface="+mn-lt"/>
              </a:rPr>
              <a:t>Benefits</a:t>
            </a:r>
          </a:p>
          <a:p>
            <a:pPr marL="285750" indent="-285750" algn="just">
              <a:buClr>
                <a:srgbClr val="C00000"/>
              </a:buClr>
              <a:buFont typeface="Wingdings" panose="05000000000000000000" pitchFamily="2" charset="2"/>
              <a:buChar char="§"/>
            </a:pPr>
            <a:r>
              <a:rPr lang="en-US" sz="1800" dirty="0">
                <a:latin typeface="+mn-lt"/>
              </a:rPr>
              <a:t>Enables scalable, autonomous reasoning across large information spaces.</a:t>
            </a:r>
          </a:p>
          <a:p>
            <a:pPr marL="285750" indent="-285750" algn="just">
              <a:buClr>
                <a:srgbClr val="C00000"/>
              </a:buClr>
              <a:buFont typeface="Wingdings" panose="05000000000000000000" pitchFamily="2" charset="2"/>
              <a:buChar char="§"/>
            </a:pPr>
            <a:r>
              <a:rPr lang="en-US" sz="1800" dirty="0">
                <a:latin typeface="+mn-lt"/>
              </a:rPr>
              <a:t>Allows dynamic workflows—adapting to new information on the fly.</a:t>
            </a:r>
          </a:p>
          <a:p>
            <a:pPr marL="285750" indent="-285750" algn="just">
              <a:buClr>
                <a:srgbClr val="C00000"/>
              </a:buClr>
              <a:buFont typeface="Wingdings" panose="05000000000000000000" pitchFamily="2" charset="2"/>
              <a:buChar char="§"/>
            </a:pPr>
            <a:r>
              <a:rPr lang="en-US" sz="1800" dirty="0">
                <a:latin typeface="+mn-lt"/>
              </a:rPr>
              <a:t>Matches how human teams research: parallel, iterative, and flexible.</a:t>
            </a:r>
          </a:p>
          <a:p>
            <a:pPr algn="just">
              <a:buClr>
                <a:srgbClr val="C00000"/>
              </a:buClr>
            </a:pPr>
            <a:r>
              <a:rPr lang="en-US" sz="1800" b="1" dirty="0">
                <a:latin typeface="+mn-lt"/>
              </a:rPr>
              <a:t>Challenges</a:t>
            </a:r>
          </a:p>
          <a:p>
            <a:pPr marL="285750" indent="-285750" algn="just">
              <a:buClr>
                <a:srgbClr val="C00000"/>
              </a:buClr>
              <a:buFont typeface="Wingdings" panose="05000000000000000000" pitchFamily="2" charset="2"/>
              <a:buChar char="§"/>
            </a:pPr>
            <a:r>
              <a:rPr lang="en-US" sz="1800" dirty="0">
                <a:latin typeface="+mn-lt"/>
              </a:rPr>
              <a:t>Multi-agent systems use ~15× more tokens than simple chats.</a:t>
            </a:r>
          </a:p>
          <a:p>
            <a:pPr marL="285750" indent="-285750" algn="just">
              <a:buClr>
                <a:srgbClr val="C00000"/>
              </a:buClr>
              <a:buFont typeface="Wingdings" panose="05000000000000000000" pitchFamily="2" charset="2"/>
              <a:buChar char="§"/>
            </a:pPr>
            <a:r>
              <a:rPr lang="en-US" sz="1800" dirty="0">
                <a:latin typeface="+mn-lt"/>
              </a:rPr>
              <a:t>Require careful prompt design, tool selection, and coordination.</a:t>
            </a:r>
          </a:p>
          <a:p>
            <a:pPr marL="285750" indent="-285750" algn="just">
              <a:buClr>
                <a:srgbClr val="C00000"/>
              </a:buClr>
              <a:buFont typeface="Wingdings" panose="05000000000000000000" pitchFamily="2" charset="2"/>
              <a:buChar char="§"/>
            </a:pPr>
            <a:r>
              <a:rPr lang="en-US" sz="1800" dirty="0">
                <a:latin typeface="+mn-lt"/>
              </a:rPr>
              <a:t>Debugging is harder due to unpredictable agent behavior.</a:t>
            </a:r>
          </a:p>
          <a:p>
            <a:pPr algn="just">
              <a:buClr>
                <a:srgbClr val="C00000"/>
              </a:buClr>
            </a:pPr>
            <a:r>
              <a:rPr lang="en-US" sz="1800" b="1" dirty="0">
                <a:latin typeface="+mn-lt"/>
              </a:rPr>
              <a:t>Engineering Best Practices</a:t>
            </a:r>
          </a:p>
          <a:p>
            <a:pPr marL="285750" indent="-285750" algn="just">
              <a:buClr>
                <a:srgbClr val="C00000"/>
              </a:buClr>
              <a:buFont typeface="Wingdings" panose="05000000000000000000" pitchFamily="2" charset="2"/>
              <a:buChar char="§"/>
            </a:pPr>
            <a:r>
              <a:rPr lang="en-US" sz="1800" dirty="0">
                <a:latin typeface="+mn-lt"/>
              </a:rPr>
              <a:t>Design agents that delegate and think step-by-step.</a:t>
            </a:r>
          </a:p>
          <a:p>
            <a:pPr marL="285750" indent="-285750" algn="just">
              <a:buClr>
                <a:srgbClr val="C00000"/>
              </a:buClr>
              <a:buFont typeface="Wingdings" panose="05000000000000000000" pitchFamily="2" charset="2"/>
              <a:buChar char="§"/>
            </a:pPr>
            <a:r>
              <a:rPr lang="en-US" sz="1800" dirty="0">
                <a:latin typeface="+mn-lt"/>
              </a:rPr>
              <a:t>Use parallel tool calls and task-specific subagents.</a:t>
            </a:r>
          </a:p>
          <a:p>
            <a:pPr marL="285750" indent="-285750" algn="just">
              <a:buClr>
                <a:srgbClr val="C00000"/>
              </a:buClr>
              <a:buFont typeface="Wingdings" panose="05000000000000000000" pitchFamily="2" charset="2"/>
              <a:buChar char="§"/>
            </a:pPr>
            <a:r>
              <a:rPr lang="en-US" sz="1800" dirty="0">
                <a:latin typeface="+mn-lt"/>
              </a:rPr>
              <a:t>Combine human testing with LLM-based evaluation to ensure quality.</a:t>
            </a:r>
          </a:p>
        </p:txBody>
      </p:sp>
      <p:sp>
        <p:nvSpPr>
          <p:cNvPr id="3" name="CuadroTexto 2">
            <a:extLst>
              <a:ext uri="{FF2B5EF4-FFF2-40B4-BE49-F238E27FC236}">
                <a16:creationId xmlns:a16="http://schemas.microsoft.com/office/drawing/2014/main" id="{0A9D276C-A571-7E2A-4C5C-8EDE1FB2CE33}"/>
              </a:ext>
            </a:extLst>
          </p:cNvPr>
          <p:cNvSpPr txBox="1"/>
          <p:nvPr/>
        </p:nvSpPr>
        <p:spPr>
          <a:xfrm>
            <a:off x="7508082" y="2233049"/>
            <a:ext cx="4443030" cy="3462486"/>
          </a:xfrm>
          <a:prstGeom prst="rect">
            <a:avLst/>
          </a:prstGeom>
          <a:solidFill>
            <a:srgbClr val="005471"/>
          </a:solidFill>
        </p:spPr>
        <p:txBody>
          <a:bodyPr wrap="square">
            <a:spAutoFit/>
          </a:bodyPr>
          <a:lstStyle/>
          <a:p>
            <a:pPr marL="285750" indent="-285750" algn="just">
              <a:buFont typeface="Arial" panose="020B0604020202020204" pitchFamily="34" charset="0"/>
              <a:buChar char="•"/>
            </a:pPr>
            <a:r>
              <a:rPr lang="en-US" sz="1600" b="1" dirty="0">
                <a:solidFill>
                  <a:schemeClr val="bg1"/>
                </a:solidFill>
                <a:latin typeface="Santander Text" panose="020B0504020201020104" pitchFamily="34" charset="0"/>
              </a:rPr>
              <a:t>Company intelligence</a:t>
            </a:r>
          </a:p>
          <a:p>
            <a:pPr marL="265113" algn="just">
              <a:spcAft>
                <a:spcPts val="600"/>
              </a:spcAft>
            </a:pPr>
            <a:r>
              <a:rPr lang="en-US" sz="1400" dirty="0">
                <a:solidFill>
                  <a:schemeClr val="bg1"/>
                </a:solidFill>
              </a:rPr>
              <a:t>Identifying all board members of companies in the S&amp;P 500 Information Technology sector through task decomposition.</a:t>
            </a:r>
          </a:p>
          <a:p>
            <a:pPr marL="285750" indent="-285750" algn="just">
              <a:buFont typeface="Arial" panose="020B0604020202020204" pitchFamily="34" charset="0"/>
              <a:buChar char="•"/>
            </a:pPr>
            <a:r>
              <a:rPr lang="en-US" sz="1600" b="1" dirty="0">
                <a:solidFill>
                  <a:schemeClr val="bg1"/>
                </a:solidFill>
                <a:latin typeface="Santander Text" panose="020B0504020201020104" pitchFamily="34" charset="0"/>
              </a:rPr>
              <a:t>Technical troubleshooting</a:t>
            </a:r>
          </a:p>
          <a:p>
            <a:pPr marL="265113" algn="just">
              <a:spcAft>
                <a:spcPts val="600"/>
              </a:spcAft>
            </a:pPr>
            <a:r>
              <a:rPr lang="en-US" sz="1400" dirty="0">
                <a:solidFill>
                  <a:schemeClr val="bg1"/>
                </a:solidFill>
              </a:rPr>
              <a:t>Helping resolve complex technical bugs more efficiently.</a:t>
            </a:r>
          </a:p>
          <a:p>
            <a:pPr marL="285750" indent="-285750" algn="just">
              <a:buFont typeface="Arial" panose="020B0604020202020204" pitchFamily="34" charset="0"/>
              <a:buChar char="•"/>
            </a:pPr>
            <a:r>
              <a:rPr lang="en-US" sz="1600" b="1" dirty="0">
                <a:solidFill>
                  <a:schemeClr val="bg1"/>
                </a:solidFill>
                <a:latin typeface="Santander Text" panose="020B0504020201020104" pitchFamily="34" charset="0"/>
              </a:rPr>
              <a:t>Research acceleration</a:t>
            </a:r>
          </a:p>
          <a:p>
            <a:pPr marL="265113" algn="just">
              <a:spcAft>
                <a:spcPts val="600"/>
              </a:spcAft>
            </a:pPr>
            <a:r>
              <a:rPr lang="en-US" sz="1400" dirty="0">
                <a:solidFill>
                  <a:schemeClr val="bg1"/>
                </a:solidFill>
              </a:rPr>
              <a:t>Saving users hours or days by revealing research connections not found through traditional methods.</a:t>
            </a:r>
          </a:p>
          <a:p>
            <a:pPr marL="285750" indent="-285750" algn="just">
              <a:buFont typeface="Arial" panose="020B0604020202020204" pitchFamily="34" charset="0"/>
              <a:buChar char="•"/>
            </a:pPr>
            <a:r>
              <a:rPr lang="en-US" sz="1600" b="1" dirty="0">
                <a:solidFill>
                  <a:schemeClr val="bg1"/>
                </a:solidFill>
                <a:latin typeface="Santander Text" panose="020B0504020201020104" pitchFamily="34" charset="0"/>
              </a:rPr>
              <a:t>Strategic synthesis</a:t>
            </a:r>
          </a:p>
          <a:p>
            <a:pPr marL="265113" algn="just"/>
            <a:r>
              <a:rPr lang="en-US" sz="1400" dirty="0">
                <a:solidFill>
                  <a:schemeClr val="bg1"/>
                </a:solidFill>
              </a:rPr>
              <a:t>Using custom AI to process macroeconomic and geopolitical data and create high-level narrative frameworks—similar to what expert economists do.</a:t>
            </a:r>
            <a:endParaRPr lang="es-ES" sz="1400" dirty="0">
              <a:solidFill>
                <a:schemeClr val="bg1"/>
              </a:solidFill>
            </a:endParaRPr>
          </a:p>
        </p:txBody>
      </p:sp>
      <p:sp>
        <p:nvSpPr>
          <p:cNvPr id="4" name="Marcador de texto 4">
            <a:extLst>
              <a:ext uri="{FF2B5EF4-FFF2-40B4-BE49-F238E27FC236}">
                <a16:creationId xmlns:a16="http://schemas.microsoft.com/office/drawing/2014/main" id="{33D59F91-1B15-AB21-4611-F0A5E6D68059}"/>
              </a:ext>
            </a:extLst>
          </p:cNvPr>
          <p:cNvSpPr txBox="1">
            <a:spLocks/>
          </p:cNvSpPr>
          <p:nvPr/>
        </p:nvSpPr>
        <p:spPr>
          <a:xfrm>
            <a:off x="7508083" y="1804097"/>
            <a:ext cx="3900206" cy="428952"/>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b="1" dirty="0">
                <a:solidFill>
                  <a:srgbClr val="005471"/>
                </a:solidFill>
                <a:latin typeface="Santander Text" panose="020B0504020201020104" pitchFamily="34" charset="0"/>
              </a:rPr>
              <a:t>USE CASES</a:t>
            </a:r>
          </a:p>
        </p:txBody>
      </p:sp>
      <p:sp>
        <p:nvSpPr>
          <p:cNvPr id="5" name="Rectángulo 4">
            <a:extLst>
              <a:ext uri="{FF2B5EF4-FFF2-40B4-BE49-F238E27FC236}">
                <a16:creationId xmlns:a16="http://schemas.microsoft.com/office/drawing/2014/main" id="{882E1569-645B-E0E9-6CC5-ACDA65974A66}"/>
              </a:ext>
            </a:extLst>
          </p:cNvPr>
          <p:cNvSpPr/>
          <p:nvPr/>
        </p:nvSpPr>
        <p:spPr>
          <a:xfrm>
            <a:off x="7421531" y="4710223"/>
            <a:ext cx="4614530" cy="1050497"/>
          </a:xfrm>
          <a:prstGeom prst="rect">
            <a:avLst/>
          </a:prstGeom>
          <a:noFill/>
          <a:ln w="28575">
            <a:solidFill>
              <a:srgbClr val="FF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7869511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33793-C62D-550F-EEE2-431464AFCC4F}"/>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000577B3-B33F-570A-41CE-326A44B82D64}"/>
              </a:ext>
            </a:extLst>
          </p:cNvPr>
          <p:cNvSpPr>
            <a:spLocks noGrp="1"/>
          </p:cNvSpPr>
          <p:nvPr>
            <p:ph type="ctrTitle"/>
          </p:nvPr>
        </p:nvSpPr>
        <p:spPr>
          <a:xfrm>
            <a:off x="439259" y="939173"/>
            <a:ext cx="11309829" cy="740981"/>
          </a:xfrm>
        </p:spPr>
        <p:txBody>
          <a:bodyPr/>
          <a:lstStyle/>
          <a:p>
            <a:pPr algn="just"/>
            <a:r>
              <a:rPr lang="en-US" dirty="0"/>
              <a:t>3.3) How to build Custom GPTs &amp; Use Cases </a:t>
            </a:r>
          </a:p>
        </p:txBody>
      </p:sp>
      <p:pic>
        <p:nvPicPr>
          <p:cNvPr id="3" name="Imagen 2">
            <a:hlinkClick r:id="rId3"/>
            <a:extLst>
              <a:ext uri="{FF2B5EF4-FFF2-40B4-BE49-F238E27FC236}">
                <a16:creationId xmlns:a16="http://schemas.microsoft.com/office/drawing/2014/main" id="{83758108-E3A1-A748-7CA2-488E1088DD9C}"/>
              </a:ext>
            </a:extLst>
          </p:cNvPr>
          <p:cNvPicPr>
            <a:picLocks noChangeAspect="1"/>
          </p:cNvPicPr>
          <p:nvPr/>
        </p:nvPicPr>
        <p:blipFill>
          <a:blip r:embed="rId4">
            <a:clrChange>
              <a:clrFrom>
                <a:srgbClr val="FFFFFF"/>
              </a:clrFrom>
              <a:clrTo>
                <a:srgbClr val="FFFFFF">
                  <a:alpha val="0"/>
                </a:srgbClr>
              </a:clrTo>
            </a:clrChange>
          </a:blip>
          <a:srcRect l="18173" t="45603" r="10885" b="39929"/>
          <a:stretch/>
        </p:blipFill>
        <p:spPr>
          <a:xfrm>
            <a:off x="435301" y="3661357"/>
            <a:ext cx="963039" cy="992221"/>
          </a:xfrm>
          <a:prstGeom prst="rect">
            <a:avLst/>
          </a:prstGeom>
        </p:spPr>
      </p:pic>
      <p:sp>
        <p:nvSpPr>
          <p:cNvPr id="4" name="CuadroTexto 3">
            <a:extLst>
              <a:ext uri="{FF2B5EF4-FFF2-40B4-BE49-F238E27FC236}">
                <a16:creationId xmlns:a16="http://schemas.microsoft.com/office/drawing/2014/main" id="{D0396E54-F872-23F6-CAE3-E85C039902E7}"/>
              </a:ext>
            </a:extLst>
          </p:cNvPr>
          <p:cNvSpPr txBox="1"/>
          <p:nvPr/>
        </p:nvSpPr>
        <p:spPr>
          <a:xfrm>
            <a:off x="1584013" y="3818913"/>
            <a:ext cx="4120884" cy="677108"/>
          </a:xfrm>
          <a:prstGeom prst="rect">
            <a:avLst/>
          </a:prstGeom>
          <a:noFill/>
        </p:spPr>
        <p:txBody>
          <a:bodyPr wrap="square" rtlCol="0">
            <a:spAutoFit/>
          </a:bodyPr>
          <a:lstStyle/>
          <a:p>
            <a:r>
              <a:rPr lang="en-US" sz="1400" b="1" kern="0" noProof="0">
                <a:solidFill>
                  <a:schemeClr val="accent2"/>
                </a:solidFill>
                <a:latin typeface="Santander Text" panose="020B0504020201020104" pitchFamily="34" charset="0"/>
              </a:rPr>
              <a:t>FX Strategist</a:t>
            </a:r>
          </a:p>
          <a:p>
            <a:r>
              <a:rPr lang="en-US" sz="1200" b="1" noProof="0">
                <a:solidFill>
                  <a:srgbClr val="0D0D0D"/>
                </a:solidFill>
                <a:latin typeface="Santander Text" panose="020B0504020201020104" pitchFamily="34" charset="0"/>
              </a:rPr>
              <a:t>Develops foreign exchange strategies </a:t>
            </a:r>
            <a:r>
              <a:rPr lang="en-US" sz="1200" noProof="0">
                <a:solidFill>
                  <a:srgbClr val="0D0D0D"/>
                </a:solidFill>
                <a:latin typeface="Santander Text" panose="020B0504020201020104" pitchFamily="34" charset="0"/>
              </a:rPr>
              <a:t>based on macroeconomic and fundamental analysis</a:t>
            </a:r>
            <a:endParaRPr lang="en-US" noProof="0">
              <a:latin typeface="Santander Text" panose="020B0504020201020104" pitchFamily="34" charset="0"/>
            </a:endParaRPr>
          </a:p>
        </p:txBody>
      </p:sp>
      <p:pic>
        <p:nvPicPr>
          <p:cNvPr id="5" name="Imagen 4">
            <a:extLst>
              <a:ext uri="{FF2B5EF4-FFF2-40B4-BE49-F238E27FC236}">
                <a16:creationId xmlns:a16="http://schemas.microsoft.com/office/drawing/2014/main" id="{708FFD78-D80D-6AC7-A109-0E2F2D92D5C1}"/>
              </a:ext>
            </a:extLst>
          </p:cNvPr>
          <p:cNvPicPr>
            <a:picLocks noChangeAspect="1"/>
          </p:cNvPicPr>
          <p:nvPr/>
        </p:nvPicPr>
        <p:blipFill>
          <a:blip r:embed="rId4">
            <a:clrChange>
              <a:clrFrom>
                <a:srgbClr val="FFFFFF"/>
              </a:clrFrom>
              <a:clrTo>
                <a:srgbClr val="FFFFFF">
                  <a:alpha val="0"/>
                </a:srgbClr>
              </a:clrTo>
            </a:clrChange>
          </a:blip>
          <a:srcRect l="17276" t="12057" r="11226" b="71631"/>
          <a:stretch/>
        </p:blipFill>
        <p:spPr>
          <a:xfrm>
            <a:off x="435301" y="2487446"/>
            <a:ext cx="970578" cy="1118681"/>
          </a:xfrm>
          <a:prstGeom prst="rect">
            <a:avLst/>
          </a:prstGeom>
        </p:spPr>
      </p:pic>
      <p:sp>
        <p:nvSpPr>
          <p:cNvPr id="7" name="CuadroTexto 6">
            <a:extLst>
              <a:ext uri="{FF2B5EF4-FFF2-40B4-BE49-F238E27FC236}">
                <a16:creationId xmlns:a16="http://schemas.microsoft.com/office/drawing/2014/main" id="{EBCAF0C1-F009-D61C-1974-E8214714710A}"/>
              </a:ext>
            </a:extLst>
          </p:cNvPr>
          <p:cNvSpPr txBox="1"/>
          <p:nvPr/>
        </p:nvSpPr>
        <p:spPr>
          <a:xfrm>
            <a:off x="1584013" y="2615899"/>
            <a:ext cx="4178325" cy="861774"/>
          </a:xfrm>
          <a:prstGeom prst="rect">
            <a:avLst/>
          </a:prstGeom>
          <a:noFill/>
        </p:spPr>
        <p:txBody>
          <a:bodyPr wrap="square" rtlCol="0">
            <a:spAutoFit/>
          </a:bodyPr>
          <a:lstStyle/>
          <a:p>
            <a:r>
              <a:rPr lang="en-US" sz="1400" b="1" kern="0" noProof="0" dirty="0">
                <a:solidFill>
                  <a:schemeClr val="accent2"/>
                </a:solidFill>
                <a:latin typeface="Santander Text" panose="020B0504020201020104" pitchFamily="34" charset="0"/>
              </a:rPr>
              <a:t>Equity Sector &amp; Factor Analyst </a:t>
            </a:r>
          </a:p>
          <a:p>
            <a:r>
              <a:rPr kumimoji="0" lang="en-US" sz="1200" b="0" i="0" u="none" strike="noStrike" cap="none" normalizeH="0" baseline="0" noProof="0" dirty="0">
                <a:ln>
                  <a:noFill/>
                </a:ln>
                <a:solidFill>
                  <a:srgbClr val="0D0D0D"/>
                </a:solidFill>
                <a:effectLst/>
                <a:latin typeface="Santander Text" panose="020B0504020201020104" pitchFamily="34" charset="0"/>
                <a:ea typeface="ui-sans-serif"/>
              </a:rPr>
              <a:t>Analyzes the </a:t>
            </a:r>
            <a:r>
              <a:rPr kumimoji="0" lang="en-US" sz="1200" b="1" i="0" u="none" strike="noStrike" cap="none" normalizeH="0" baseline="0" noProof="0" dirty="0">
                <a:ln>
                  <a:noFill/>
                </a:ln>
                <a:solidFill>
                  <a:srgbClr val="0D0D0D"/>
                </a:solidFill>
                <a:effectLst/>
                <a:latin typeface="Santander Text" panose="020B0504020201020104" pitchFamily="34" charset="0"/>
                <a:ea typeface="ui-sans-serif"/>
              </a:rPr>
              <a:t>impact of trade policies </a:t>
            </a:r>
            <a:r>
              <a:rPr kumimoji="0" lang="en-US" sz="1200" b="0" i="0" u="none" strike="noStrike" cap="none" normalizeH="0" baseline="0" noProof="0" dirty="0">
                <a:ln>
                  <a:noFill/>
                </a:ln>
                <a:solidFill>
                  <a:srgbClr val="0D0D0D"/>
                </a:solidFill>
                <a:effectLst/>
                <a:latin typeface="Santander Text" panose="020B0504020201020104" pitchFamily="34" charset="0"/>
                <a:ea typeface="ui-sans-serif"/>
              </a:rPr>
              <a:t>(e.g., tariffs) on growth, inflation, and markets, </a:t>
            </a:r>
            <a:r>
              <a:rPr kumimoji="0" lang="en-US" sz="1200" b="1" i="0" u="none" strike="noStrike" cap="none" normalizeH="0" baseline="0" noProof="0" dirty="0">
                <a:ln>
                  <a:noFill/>
                </a:ln>
                <a:solidFill>
                  <a:srgbClr val="0D0D0D"/>
                </a:solidFill>
                <a:effectLst/>
                <a:latin typeface="Santander Text" panose="020B0504020201020104" pitchFamily="34" charset="0"/>
                <a:ea typeface="ui-sans-serif"/>
              </a:rPr>
              <a:t>with a focus on equity sectors and factors </a:t>
            </a:r>
            <a:r>
              <a:rPr kumimoji="0" lang="en-US" sz="1200" b="0" i="0" u="none" strike="noStrike" cap="none" normalizeH="0" baseline="0" noProof="0" dirty="0">
                <a:ln>
                  <a:noFill/>
                </a:ln>
                <a:solidFill>
                  <a:srgbClr val="0D0D0D"/>
                </a:solidFill>
                <a:effectLst/>
                <a:latin typeface="Santander Text" panose="020B0504020201020104" pitchFamily="34" charset="0"/>
                <a:ea typeface="ui-sans-serif"/>
              </a:rPr>
              <a:t>exposure</a:t>
            </a:r>
            <a:endParaRPr lang="en-US" noProof="0" dirty="0">
              <a:latin typeface="Santander Text" panose="020B0504020201020104" pitchFamily="34" charset="0"/>
            </a:endParaRPr>
          </a:p>
        </p:txBody>
      </p:sp>
      <p:pic>
        <p:nvPicPr>
          <p:cNvPr id="8" name="Imagen 7">
            <a:hlinkClick r:id="rId5"/>
            <a:extLst>
              <a:ext uri="{FF2B5EF4-FFF2-40B4-BE49-F238E27FC236}">
                <a16:creationId xmlns:a16="http://schemas.microsoft.com/office/drawing/2014/main" id="{290CE095-BBE4-C3F0-C269-E130055DEC77}"/>
              </a:ext>
            </a:extLst>
          </p:cNvPr>
          <p:cNvPicPr>
            <a:picLocks noChangeAspect="1"/>
          </p:cNvPicPr>
          <p:nvPr/>
        </p:nvPicPr>
        <p:blipFill>
          <a:blip r:embed="rId4">
            <a:clrChange>
              <a:clrFrom>
                <a:srgbClr val="FFFFFF"/>
              </a:clrFrom>
              <a:clrTo>
                <a:srgbClr val="FFFFFF">
                  <a:alpha val="0"/>
                </a:srgbClr>
              </a:clrTo>
            </a:clrChange>
          </a:blip>
          <a:srcRect l="17874" t="74761" r="10467" b="10425"/>
          <a:stretch/>
        </p:blipFill>
        <p:spPr>
          <a:xfrm>
            <a:off x="435301" y="1416327"/>
            <a:ext cx="972767" cy="1015889"/>
          </a:xfrm>
          <a:prstGeom prst="rect">
            <a:avLst/>
          </a:prstGeom>
        </p:spPr>
      </p:pic>
      <p:sp>
        <p:nvSpPr>
          <p:cNvPr id="9" name="CuadroTexto 8">
            <a:extLst>
              <a:ext uri="{FF2B5EF4-FFF2-40B4-BE49-F238E27FC236}">
                <a16:creationId xmlns:a16="http://schemas.microsoft.com/office/drawing/2014/main" id="{1199EBAE-8348-D69C-0D7B-78047BF9F0C6}"/>
              </a:ext>
            </a:extLst>
          </p:cNvPr>
          <p:cNvSpPr txBox="1"/>
          <p:nvPr/>
        </p:nvSpPr>
        <p:spPr>
          <a:xfrm>
            <a:off x="1584013" y="1493384"/>
            <a:ext cx="4177231" cy="861774"/>
          </a:xfrm>
          <a:prstGeom prst="rect">
            <a:avLst/>
          </a:prstGeom>
          <a:noFill/>
        </p:spPr>
        <p:txBody>
          <a:bodyPr wrap="square" rtlCol="0">
            <a:spAutoFit/>
          </a:bodyPr>
          <a:lstStyle/>
          <a:p>
            <a:r>
              <a:rPr lang="en-US" sz="1400" b="1" kern="0" noProof="0" dirty="0">
                <a:solidFill>
                  <a:schemeClr val="accent2"/>
                </a:solidFill>
                <a:latin typeface="Santander Text" panose="020B0504020201020104" pitchFamily="34" charset="0"/>
              </a:rPr>
              <a:t>Tariff-Man</a:t>
            </a:r>
          </a:p>
          <a:p>
            <a:r>
              <a:rPr lang="en-US" sz="1200" noProof="0" dirty="0">
                <a:solidFill>
                  <a:srgbClr val="0D0D0D"/>
                </a:solidFill>
                <a:latin typeface="Santander Text" panose="020B0504020201020104" pitchFamily="34" charset="0"/>
              </a:rPr>
              <a:t>Provides structured </a:t>
            </a:r>
            <a:r>
              <a:rPr lang="en-US" sz="1200" b="1" noProof="0" dirty="0">
                <a:solidFill>
                  <a:srgbClr val="0D0D0D"/>
                </a:solidFill>
                <a:latin typeface="Santander Text" panose="020B0504020201020104" pitchFamily="34" charset="0"/>
              </a:rPr>
              <a:t>analysis on trade policy impacts </a:t>
            </a:r>
            <a:r>
              <a:rPr lang="en-US" sz="1200" noProof="0" dirty="0">
                <a:solidFill>
                  <a:srgbClr val="0D0D0D"/>
                </a:solidFill>
                <a:latin typeface="Santander Text" panose="020B0504020201020104" pitchFamily="34" charset="0"/>
              </a:rPr>
              <a:t>—such as tariffs— </a:t>
            </a:r>
            <a:r>
              <a:rPr lang="en-US" sz="1200" b="1" noProof="0" dirty="0">
                <a:solidFill>
                  <a:srgbClr val="0D0D0D"/>
                </a:solidFill>
                <a:latin typeface="Santander Text" panose="020B0504020201020104" pitchFamily="34" charset="0"/>
              </a:rPr>
              <a:t>on macro variables and markets</a:t>
            </a:r>
            <a:r>
              <a:rPr lang="en-US" sz="1200" noProof="0" dirty="0">
                <a:solidFill>
                  <a:srgbClr val="0D0D0D"/>
                </a:solidFill>
                <a:latin typeface="Santander Text" panose="020B0504020201020104" pitchFamily="34" charset="0"/>
              </a:rPr>
              <a:t>, similar in scope to the Equity Sector &amp; Factor Analyst but not sector-specific</a:t>
            </a:r>
            <a:endParaRPr lang="en-US" noProof="0" dirty="0">
              <a:latin typeface="Santander Text" panose="020B0504020201020104" pitchFamily="34" charset="0"/>
            </a:endParaRPr>
          </a:p>
        </p:txBody>
      </p:sp>
      <p:pic>
        <p:nvPicPr>
          <p:cNvPr id="10" name="Imagen 9">
            <a:extLst>
              <a:ext uri="{FF2B5EF4-FFF2-40B4-BE49-F238E27FC236}">
                <a16:creationId xmlns:a16="http://schemas.microsoft.com/office/drawing/2014/main" id="{6AFFC60F-2ACB-B9ED-725D-80F352E2705A}"/>
              </a:ext>
            </a:extLst>
          </p:cNvPr>
          <p:cNvPicPr>
            <a:picLocks noChangeAspect="1"/>
          </p:cNvPicPr>
          <p:nvPr/>
        </p:nvPicPr>
        <p:blipFill>
          <a:blip r:embed="rId6">
            <a:clrChange>
              <a:clrFrom>
                <a:srgbClr val="FFFFFF"/>
              </a:clrFrom>
              <a:clrTo>
                <a:srgbClr val="FFFFFF">
                  <a:alpha val="0"/>
                </a:srgbClr>
              </a:clrTo>
            </a:clrChange>
          </a:blip>
          <a:srcRect l="25574" t="58448" r="13548" b="19573"/>
          <a:stretch/>
        </p:blipFill>
        <p:spPr>
          <a:xfrm>
            <a:off x="435301" y="4708808"/>
            <a:ext cx="963039" cy="992222"/>
          </a:xfrm>
          <a:prstGeom prst="rect">
            <a:avLst/>
          </a:prstGeom>
        </p:spPr>
      </p:pic>
      <p:sp>
        <p:nvSpPr>
          <p:cNvPr id="11" name="CuadroTexto 10">
            <a:extLst>
              <a:ext uri="{FF2B5EF4-FFF2-40B4-BE49-F238E27FC236}">
                <a16:creationId xmlns:a16="http://schemas.microsoft.com/office/drawing/2014/main" id="{D81313EE-CAF7-26F7-5D39-04696EBB22FC}"/>
              </a:ext>
            </a:extLst>
          </p:cNvPr>
          <p:cNvSpPr txBox="1"/>
          <p:nvPr/>
        </p:nvSpPr>
        <p:spPr>
          <a:xfrm>
            <a:off x="1584013" y="4808174"/>
            <a:ext cx="4182095" cy="861774"/>
          </a:xfrm>
          <a:prstGeom prst="rect">
            <a:avLst/>
          </a:prstGeom>
          <a:noFill/>
        </p:spPr>
        <p:txBody>
          <a:bodyPr wrap="square" rtlCol="0">
            <a:spAutoFit/>
          </a:bodyPr>
          <a:lstStyle/>
          <a:p>
            <a:r>
              <a:rPr lang="en-US" sz="1400" b="1" kern="0" noProof="0" dirty="0">
                <a:solidFill>
                  <a:schemeClr val="accent2"/>
                </a:solidFill>
                <a:latin typeface="Santander Text" panose="020B0504020201020104" pitchFamily="34" charset="0"/>
              </a:rPr>
              <a:t>Behavioral Bias Analysis</a:t>
            </a:r>
          </a:p>
          <a:p>
            <a:r>
              <a:rPr lang="en-US" sz="1200" b="1" noProof="0" dirty="0">
                <a:solidFill>
                  <a:srgbClr val="0D0D0D"/>
                </a:solidFill>
                <a:latin typeface="Santander Text" panose="020B0504020201020104" pitchFamily="34" charset="0"/>
              </a:rPr>
              <a:t>Identifies behavioral biases in monthly Asset Allocation decisions </a:t>
            </a:r>
            <a:r>
              <a:rPr lang="en-US" sz="1200" noProof="0" dirty="0">
                <a:solidFill>
                  <a:srgbClr val="0D0D0D"/>
                </a:solidFill>
                <a:latin typeface="Santander Text" panose="020B0504020201020104" pitchFamily="34" charset="0"/>
              </a:rPr>
              <a:t>by analyzing historical data, performance, and narratives</a:t>
            </a:r>
            <a:endParaRPr lang="en-US" b="1" noProof="0" dirty="0">
              <a:latin typeface="Santander Text" panose="020B0504020201020104" pitchFamily="34" charset="0"/>
            </a:endParaRPr>
          </a:p>
        </p:txBody>
      </p:sp>
      <p:pic>
        <p:nvPicPr>
          <p:cNvPr id="13" name="Imagen 12">
            <a:extLst>
              <a:ext uri="{FF2B5EF4-FFF2-40B4-BE49-F238E27FC236}">
                <a16:creationId xmlns:a16="http://schemas.microsoft.com/office/drawing/2014/main" id="{B5566A29-886E-8ACC-456C-784C9797A53F}"/>
              </a:ext>
            </a:extLst>
          </p:cNvPr>
          <p:cNvPicPr>
            <a:picLocks noChangeAspect="1"/>
          </p:cNvPicPr>
          <p:nvPr/>
        </p:nvPicPr>
        <p:blipFill>
          <a:blip r:embed="rId6">
            <a:clrChange>
              <a:clrFrom>
                <a:srgbClr val="FFFFFF"/>
              </a:clrFrom>
              <a:clrTo>
                <a:srgbClr val="FFFFFF">
                  <a:alpha val="0"/>
                </a:srgbClr>
              </a:clrTo>
            </a:clrChange>
          </a:blip>
          <a:srcRect l="26546" t="13725" r="10343" b="63907"/>
          <a:stretch/>
        </p:blipFill>
        <p:spPr>
          <a:xfrm>
            <a:off x="435301" y="5756261"/>
            <a:ext cx="1071768" cy="1027979"/>
          </a:xfrm>
          <a:prstGeom prst="rect">
            <a:avLst/>
          </a:prstGeom>
        </p:spPr>
      </p:pic>
      <p:sp>
        <p:nvSpPr>
          <p:cNvPr id="14" name="CuadroTexto 13">
            <a:extLst>
              <a:ext uri="{FF2B5EF4-FFF2-40B4-BE49-F238E27FC236}">
                <a16:creationId xmlns:a16="http://schemas.microsoft.com/office/drawing/2014/main" id="{1636CEEA-2867-9533-0ACB-183EC1981F57}"/>
              </a:ext>
            </a:extLst>
          </p:cNvPr>
          <p:cNvSpPr txBox="1"/>
          <p:nvPr/>
        </p:nvSpPr>
        <p:spPr>
          <a:xfrm>
            <a:off x="1584013" y="5839363"/>
            <a:ext cx="4492357" cy="861774"/>
          </a:xfrm>
          <a:prstGeom prst="rect">
            <a:avLst/>
          </a:prstGeom>
          <a:noFill/>
        </p:spPr>
        <p:txBody>
          <a:bodyPr wrap="square" rtlCol="0">
            <a:spAutoFit/>
          </a:bodyPr>
          <a:lstStyle/>
          <a:p>
            <a:r>
              <a:rPr lang="en-US" sz="1400" b="1" kern="0" noProof="0">
                <a:solidFill>
                  <a:schemeClr val="accent2"/>
                </a:solidFill>
                <a:latin typeface="Santander Text" panose="020B0504020201020104" pitchFamily="34" charset="0"/>
              </a:rPr>
              <a:t>GPT Generator</a:t>
            </a:r>
          </a:p>
          <a:p>
            <a:r>
              <a:rPr lang="en-US" sz="1200" b="1" noProof="0">
                <a:solidFill>
                  <a:srgbClr val="0D0D0D"/>
                </a:solidFill>
                <a:latin typeface="Santander Text" panose="020B0504020201020104" pitchFamily="34" charset="0"/>
              </a:rPr>
              <a:t>Assists in creating custom GPTs </a:t>
            </a:r>
            <a:r>
              <a:rPr lang="en-US" sz="1200" noProof="0">
                <a:solidFill>
                  <a:srgbClr val="0D0D0D"/>
                </a:solidFill>
                <a:latin typeface="Santander Text" panose="020B0504020201020104" pitchFamily="34" charset="0"/>
              </a:rPr>
              <a:t>by guiding users through the definition of objectives, key features, interaction style, and usage constraints</a:t>
            </a:r>
            <a:endParaRPr lang="en-US" noProof="0">
              <a:latin typeface="Santander Text" panose="020B0504020201020104" pitchFamily="34" charset="0"/>
            </a:endParaRPr>
          </a:p>
        </p:txBody>
      </p:sp>
      <p:pic>
        <p:nvPicPr>
          <p:cNvPr id="21" name="Imagen 20">
            <a:extLst>
              <a:ext uri="{FF2B5EF4-FFF2-40B4-BE49-F238E27FC236}">
                <a16:creationId xmlns:a16="http://schemas.microsoft.com/office/drawing/2014/main" id="{F2BC49CF-C921-AA09-F4AB-D5A6F618C65C}"/>
              </a:ext>
            </a:extLst>
          </p:cNvPr>
          <p:cNvPicPr>
            <a:picLocks noChangeAspect="1"/>
          </p:cNvPicPr>
          <p:nvPr/>
        </p:nvPicPr>
        <p:blipFill>
          <a:blip r:embed="rId7"/>
          <a:stretch>
            <a:fillRect/>
          </a:stretch>
        </p:blipFill>
        <p:spPr>
          <a:xfrm>
            <a:off x="6094173" y="1627619"/>
            <a:ext cx="5867356" cy="5124197"/>
          </a:xfrm>
          <a:prstGeom prst="rect">
            <a:avLst/>
          </a:prstGeom>
        </p:spPr>
      </p:pic>
    </p:spTree>
    <p:extLst>
      <p:ext uri="{BB962C8B-B14F-4D97-AF65-F5344CB8AC3E}">
        <p14:creationId xmlns:p14="http://schemas.microsoft.com/office/powerpoint/2010/main" val="3110686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F9C14-9A55-978F-66EF-5E82BCBD150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06F95705-6917-1727-A0C6-327AA67DDC36}"/>
              </a:ext>
            </a:extLst>
          </p:cNvPr>
          <p:cNvSpPr>
            <a:spLocks noGrp="1"/>
          </p:cNvSpPr>
          <p:nvPr>
            <p:ph type="ctrTitle"/>
          </p:nvPr>
        </p:nvSpPr>
        <p:spPr>
          <a:xfrm>
            <a:off x="439259" y="939173"/>
            <a:ext cx="11309829" cy="740981"/>
          </a:xfrm>
        </p:spPr>
        <p:txBody>
          <a:bodyPr/>
          <a:lstStyle/>
          <a:p>
            <a:pPr algn="just"/>
            <a:r>
              <a:rPr lang="en-US" dirty="0"/>
              <a:t>4) Takeaways (I)</a:t>
            </a:r>
          </a:p>
        </p:txBody>
      </p:sp>
      <p:sp>
        <p:nvSpPr>
          <p:cNvPr id="6" name="Marcador de texto 4">
            <a:extLst>
              <a:ext uri="{FF2B5EF4-FFF2-40B4-BE49-F238E27FC236}">
                <a16:creationId xmlns:a16="http://schemas.microsoft.com/office/drawing/2014/main" id="{280A4E55-B5B6-7FBE-ABE3-03B386534805}"/>
              </a:ext>
            </a:extLst>
          </p:cNvPr>
          <p:cNvSpPr txBox="1">
            <a:spLocks/>
          </p:cNvSpPr>
          <p:nvPr/>
        </p:nvSpPr>
        <p:spPr>
          <a:xfrm>
            <a:off x="439259" y="1508034"/>
            <a:ext cx="11309829" cy="497078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b="1" dirty="0">
                <a:latin typeface="+mn-lt"/>
              </a:rPr>
              <a:t>General discussions</a:t>
            </a:r>
            <a:endParaRPr lang="en-US" sz="1800" dirty="0">
              <a:latin typeface="+mn-lt"/>
            </a:endParaRPr>
          </a:p>
          <a:p>
            <a:pPr marL="285750" indent="-285750" algn="just">
              <a:buClr>
                <a:srgbClr val="C00000"/>
              </a:buClr>
              <a:buFont typeface="Wingdings" panose="05000000000000000000" pitchFamily="2" charset="2"/>
              <a:buChar char="§"/>
            </a:pPr>
            <a:r>
              <a:rPr lang="en-US" sz="1800" dirty="0">
                <a:latin typeface="+mn-lt"/>
              </a:rPr>
              <a:t>Aladdin Copilot Phase 2 (Mid-July Launch):</a:t>
            </a:r>
          </a:p>
          <a:p>
            <a:pPr marL="714375" lvl="1" indent="-342900" algn="just">
              <a:buClr>
                <a:srgbClr val="C00000"/>
              </a:buClr>
              <a:buFont typeface="Courier New" panose="02070309020205020404" pitchFamily="49" charset="0"/>
              <a:buChar char="o"/>
            </a:pPr>
            <a:r>
              <a:rPr lang="en-US" sz="1800" dirty="0">
                <a:latin typeface="+mn-lt"/>
              </a:rPr>
              <a:t>Prompt-based assistant will support queries across various tools, e.g., attribution analysis, summarizing research.</a:t>
            </a:r>
          </a:p>
          <a:p>
            <a:pPr marL="714375" lvl="1" indent="-342900" algn="just">
              <a:buClr>
                <a:srgbClr val="C00000"/>
              </a:buClr>
              <a:buFont typeface="Courier New" panose="02070309020205020404" pitchFamily="49" charset="0"/>
              <a:buChar char="o"/>
            </a:pPr>
            <a:r>
              <a:rPr lang="en-US" sz="1800" dirty="0">
                <a:latin typeface="+mn-lt"/>
              </a:rPr>
              <a:t>Distribute upcoming Aladdin Copilot Phase 2 user guide and usage instructions.</a:t>
            </a:r>
          </a:p>
          <a:p>
            <a:pPr marL="714375" lvl="1" indent="-342900" algn="just">
              <a:buClr>
                <a:srgbClr val="C00000"/>
              </a:buClr>
              <a:buFont typeface="Courier New" panose="02070309020205020404" pitchFamily="49" charset="0"/>
              <a:buChar char="o"/>
            </a:pPr>
            <a:r>
              <a:rPr lang="en-US" sz="1800" dirty="0">
                <a:latin typeface="+mn-lt"/>
              </a:rPr>
              <a:t>Follow up on formative materials or onboarding documentation for new Aladdin Copilot users.</a:t>
            </a:r>
          </a:p>
          <a:p>
            <a:pPr marL="285750" indent="-285750" algn="just">
              <a:buClr>
                <a:srgbClr val="C00000"/>
              </a:buClr>
              <a:buFont typeface="Wingdings" panose="05000000000000000000" pitchFamily="2" charset="2"/>
              <a:buChar char="§"/>
            </a:pPr>
            <a:r>
              <a:rPr lang="en-US" sz="1800" dirty="0">
                <a:latin typeface="+mn-lt"/>
              </a:rPr>
              <a:t>Strong interest in applying AI for reporting and research tasks; low interest in foundational model theory noted.</a:t>
            </a:r>
          </a:p>
          <a:p>
            <a:pPr marL="285750" indent="-285750" algn="just">
              <a:buClr>
                <a:srgbClr val="C00000"/>
              </a:buClr>
              <a:buFont typeface="Wingdings" panose="05000000000000000000" pitchFamily="2" charset="2"/>
              <a:buChar char="§"/>
            </a:pPr>
            <a:r>
              <a:rPr lang="en-US" sz="1800" dirty="0">
                <a:latin typeface="+mn-lt"/>
              </a:rPr>
              <a:t>Discussion about internal development of tailored foundational models for Santander based on internal data.</a:t>
            </a:r>
          </a:p>
          <a:p>
            <a:pPr marL="285750" indent="-285750" algn="just">
              <a:buClr>
                <a:srgbClr val="C00000"/>
              </a:buClr>
              <a:buFont typeface="Wingdings" panose="05000000000000000000" pitchFamily="2" charset="2"/>
              <a:buChar char="§"/>
            </a:pPr>
            <a:r>
              <a:rPr lang="en-US" sz="1800" dirty="0">
                <a:latin typeface="+mn-lt"/>
              </a:rPr>
              <a:t>JP Morgan and BlackRock reached 98.5% accuracy using supervised learning on top of LLMs, with human-in-the-loop mechanisms.</a:t>
            </a:r>
          </a:p>
          <a:p>
            <a:pPr marL="285750" indent="-285750" algn="just">
              <a:buClr>
                <a:srgbClr val="C00000"/>
              </a:buClr>
              <a:buFont typeface="Wingdings" panose="05000000000000000000" pitchFamily="2" charset="2"/>
              <a:buChar char="§"/>
            </a:pPr>
            <a:r>
              <a:rPr lang="en-US" sz="1800" dirty="0">
                <a:latin typeface="+mn-lt"/>
              </a:rPr>
              <a:t>MCPs are early-stage, with limited documentation but high potential for scalable AI workflows/agents.</a:t>
            </a:r>
          </a:p>
        </p:txBody>
      </p:sp>
    </p:spTree>
    <p:extLst>
      <p:ext uri="{BB962C8B-B14F-4D97-AF65-F5344CB8AC3E}">
        <p14:creationId xmlns:p14="http://schemas.microsoft.com/office/powerpoint/2010/main" val="25232281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B8C4A5-CF58-E642-78C1-92306EFD43F7}"/>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0E7BF7C2-088F-9C37-C263-A28AE238DE78}"/>
              </a:ext>
            </a:extLst>
          </p:cNvPr>
          <p:cNvSpPr>
            <a:spLocks noGrp="1"/>
          </p:cNvSpPr>
          <p:nvPr>
            <p:ph type="ctrTitle"/>
          </p:nvPr>
        </p:nvSpPr>
        <p:spPr>
          <a:xfrm>
            <a:off x="439259" y="939173"/>
            <a:ext cx="11309829" cy="740981"/>
          </a:xfrm>
        </p:spPr>
        <p:txBody>
          <a:bodyPr/>
          <a:lstStyle/>
          <a:p>
            <a:pPr algn="just"/>
            <a:r>
              <a:rPr lang="en-US" dirty="0"/>
              <a:t>4) Takeaways (II)</a:t>
            </a:r>
          </a:p>
        </p:txBody>
      </p:sp>
      <p:sp>
        <p:nvSpPr>
          <p:cNvPr id="8" name="Marcador de texto 4">
            <a:extLst>
              <a:ext uri="{FF2B5EF4-FFF2-40B4-BE49-F238E27FC236}">
                <a16:creationId xmlns:a16="http://schemas.microsoft.com/office/drawing/2014/main" id="{53AF77B8-5CBB-FC47-ED7C-D3C36F3FEEC4}"/>
              </a:ext>
            </a:extLst>
          </p:cNvPr>
          <p:cNvSpPr txBox="1">
            <a:spLocks/>
          </p:cNvSpPr>
          <p:nvPr/>
        </p:nvSpPr>
        <p:spPr>
          <a:xfrm>
            <a:off x="439259" y="1508034"/>
            <a:ext cx="6427706" cy="4970780"/>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600" b="1" dirty="0">
                <a:latin typeface="+mn-lt"/>
              </a:rPr>
              <a:t>AI Use Cases from Participants</a:t>
            </a:r>
          </a:p>
          <a:p>
            <a:pPr marL="285750" indent="-285750" algn="just">
              <a:buClr>
                <a:srgbClr val="C00000"/>
              </a:buClr>
              <a:buFont typeface="Wingdings" panose="05000000000000000000" pitchFamily="2" charset="2"/>
              <a:buChar char="§"/>
            </a:pPr>
            <a:r>
              <a:rPr lang="en-US" sz="1600" dirty="0">
                <a:latin typeface="+mn-lt"/>
              </a:rPr>
              <a:t>Santander Foundational Models  (</a:t>
            </a:r>
            <a:r>
              <a:rPr lang="en-US" sz="1600" b="1" dirty="0">
                <a:latin typeface="+mn-lt"/>
              </a:rPr>
              <a:t>Iñaki Munarriz</a:t>
            </a:r>
            <a:r>
              <a:rPr lang="en-US" sz="1600" dirty="0">
                <a:latin typeface="+mn-lt"/>
              </a:rPr>
              <a:t>):</a:t>
            </a:r>
          </a:p>
          <a:p>
            <a:pPr marL="657225" lvl="1" indent="-285750" algn="just">
              <a:spcAft>
                <a:spcPts val="600"/>
              </a:spcAft>
              <a:buClr>
                <a:srgbClr val="C00000"/>
              </a:buClr>
              <a:buFont typeface="Courier New" panose="02070309020205020404" pitchFamily="49" charset="0"/>
              <a:buChar char="o"/>
            </a:pPr>
            <a:r>
              <a:rPr lang="en-US" sz="1400" dirty="0">
                <a:latin typeface="+mn-lt"/>
              </a:rPr>
              <a:t>Proposal to explore building proprietary foundational models (LLMs or smaller models) trained on Santander-specific data.</a:t>
            </a:r>
          </a:p>
          <a:p>
            <a:pPr marL="657225" lvl="1" indent="-285750" algn="just">
              <a:spcAft>
                <a:spcPts val="600"/>
              </a:spcAft>
              <a:buClr>
                <a:srgbClr val="C00000"/>
              </a:buClr>
              <a:buFont typeface="Courier New" panose="02070309020205020404" pitchFamily="49" charset="0"/>
              <a:buChar char="o"/>
            </a:pPr>
            <a:r>
              <a:rPr lang="en-US" sz="1400" dirty="0">
                <a:latin typeface="+mn-lt"/>
              </a:rPr>
              <a:t>Goal: Increase relevance, accuracy, and contextual awareness in internal use cases such as investment research, reporting, and decision-making.</a:t>
            </a:r>
          </a:p>
          <a:p>
            <a:pPr marL="657225" lvl="1" indent="-285750" algn="just">
              <a:spcAft>
                <a:spcPts val="600"/>
              </a:spcAft>
              <a:buClr>
                <a:srgbClr val="C00000"/>
              </a:buClr>
              <a:buFont typeface="Courier New" panose="02070309020205020404" pitchFamily="49" charset="0"/>
              <a:buChar char="o"/>
            </a:pPr>
            <a:r>
              <a:rPr lang="en-US" sz="1400" dirty="0">
                <a:latin typeface="+mn-lt"/>
              </a:rPr>
              <a:t>Potential benefits include enhanced performance, faster inference (especially with quantized models), and reduced dependency on external platforms.</a:t>
            </a:r>
          </a:p>
          <a:p>
            <a:pPr marL="285750" indent="-285750" algn="just">
              <a:buClr>
                <a:srgbClr val="C00000"/>
              </a:buClr>
              <a:buFont typeface="Wingdings" panose="05000000000000000000" pitchFamily="2" charset="2"/>
              <a:buChar char="§"/>
            </a:pPr>
            <a:r>
              <a:rPr lang="en-US" sz="1600" dirty="0">
                <a:latin typeface="+mn-lt"/>
              </a:rPr>
              <a:t>JP Morgan and BlackRock: Supervised Learning for High-Accuracy AI Agents (</a:t>
            </a:r>
            <a:r>
              <a:rPr lang="en-US" sz="1600" b="1" dirty="0">
                <a:latin typeface="+mn-lt"/>
              </a:rPr>
              <a:t>Luiz Felix &amp; Guido Chagas</a:t>
            </a:r>
            <a:r>
              <a:rPr lang="en-US" sz="1600" dirty="0">
                <a:latin typeface="+mn-lt"/>
              </a:rPr>
              <a:t>):</a:t>
            </a:r>
          </a:p>
          <a:p>
            <a:pPr marL="657225" lvl="1" indent="-285750" algn="just">
              <a:spcAft>
                <a:spcPts val="600"/>
              </a:spcAft>
              <a:buClr>
                <a:srgbClr val="C00000"/>
              </a:buClr>
              <a:buFont typeface="Courier New" panose="02070309020205020404" pitchFamily="49" charset="0"/>
              <a:buChar char="o"/>
            </a:pPr>
            <a:r>
              <a:rPr lang="en-US" sz="1400" dirty="0">
                <a:latin typeface="+mn-lt"/>
              </a:rPr>
              <a:t>Both institutions integrated supervised learning layers on top of general-purpose LLMs to boost domain-specific accuracy.</a:t>
            </a:r>
          </a:p>
          <a:p>
            <a:pPr marL="657225" lvl="1" indent="-285750" algn="just">
              <a:spcAft>
                <a:spcPts val="600"/>
              </a:spcAft>
              <a:buClr>
                <a:srgbClr val="C00000"/>
              </a:buClr>
              <a:buFont typeface="Courier New" panose="02070309020205020404" pitchFamily="49" charset="0"/>
              <a:buChar char="o"/>
            </a:pPr>
            <a:r>
              <a:rPr lang="en-US" sz="1400" dirty="0">
                <a:latin typeface="+mn-lt"/>
              </a:rPr>
              <a:t>Achieved 98.5% accuracy by iteratively fine-tuning model outputs using internal data and human feedback.</a:t>
            </a:r>
          </a:p>
          <a:p>
            <a:pPr marL="657225" lvl="1" indent="-285750" algn="just">
              <a:spcAft>
                <a:spcPts val="600"/>
              </a:spcAft>
              <a:buClr>
                <a:srgbClr val="C00000"/>
              </a:buClr>
              <a:buFont typeface="Courier New" panose="02070309020205020404" pitchFamily="49" charset="0"/>
              <a:buChar char="o"/>
            </a:pPr>
            <a:r>
              <a:rPr lang="en-US" sz="1400" dirty="0">
                <a:latin typeface="+mn-lt"/>
              </a:rPr>
              <a:t>A human-in-the-loop system is triggered when the model's confidence is low or outputs are ambiguous.</a:t>
            </a:r>
          </a:p>
          <a:p>
            <a:pPr marL="657225" lvl="1" indent="-285750" algn="just">
              <a:spcAft>
                <a:spcPts val="600"/>
              </a:spcAft>
              <a:buClr>
                <a:srgbClr val="C00000"/>
              </a:buClr>
              <a:buFont typeface="Courier New" panose="02070309020205020404" pitchFamily="49" charset="0"/>
              <a:buChar char="o"/>
            </a:pPr>
            <a:r>
              <a:rPr lang="en-US" sz="1400" dirty="0">
                <a:latin typeface="+mn-lt"/>
              </a:rPr>
              <a:t>Ensures safe deployment in client-facing environments by mitigating hallucinations or factual errors.</a:t>
            </a:r>
          </a:p>
          <a:p>
            <a:pPr marL="657225" lvl="1" indent="-285750" algn="just">
              <a:spcAft>
                <a:spcPts val="600"/>
              </a:spcAft>
              <a:buClr>
                <a:srgbClr val="C00000"/>
              </a:buClr>
              <a:buFont typeface="Courier New" panose="02070309020205020404" pitchFamily="49" charset="0"/>
              <a:buChar char="o"/>
            </a:pPr>
            <a:r>
              <a:rPr lang="en-US" sz="1400" dirty="0">
                <a:latin typeface="+mn-lt"/>
              </a:rPr>
              <a:t>Highlights importance of model reliability before enabling autonomous or externally exposed AI agents</a:t>
            </a:r>
            <a:r>
              <a:rPr lang="en-US" sz="1600" dirty="0">
                <a:latin typeface="+mn-lt"/>
              </a:rPr>
              <a:t>.</a:t>
            </a:r>
            <a:endParaRPr lang="en-US" sz="1800" dirty="0">
              <a:latin typeface="+mn-lt"/>
            </a:endParaRPr>
          </a:p>
        </p:txBody>
      </p:sp>
      <p:pic>
        <p:nvPicPr>
          <p:cNvPr id="1026" name="Picture 2">
            <a:extLst>
              <a:ext uri="{FF2B5EF4-FFF2-40B4-BE49-F238E27FC236}">
                <a16:creationId xmlns:a16="http://schemas.microsoft.com/office/drawing/2014/main" id="{314F3ECD-88E5-DF3A-3CB5-270B160F49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96154" y="2169459"/>
            <a:ext cx="5195846" cy="41705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35153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95394-5604-3A30-5B7A-8A44B11B3A26}"/>
            </a:ext>
          </a:extLst>
        </p:cNvPr>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B0BF2DC9-A5E8-256B-89B8-47048BF7962E}"/>
              </a:ext>
            </a:extLst>
          </p:cNvPr>
          <p:cNvSpPr>
            <a:spLocks noGrp="1"/>
          </p:cNvSpPr>
          <p:nvPr>
            <p:ph type="sldNum" sz="quarter" idx="4"/>
          </p:nvPr>
        </p:nvSpPr>
        <p:spPr/>
        <p:txBody>
          <a:bodyPr/>
          <a:lstStyle/>
          <a:p>
            <a:pPr marL="107314">
              <a:spcBef>
                <a:spcPts val="204"/>
              </a:spcBef>
            </a:pPr>
            <a:fld id="{81D60167-4931-47E6-BA6A-407CBD079E47}" type="slidenum">
              <a:rPr lang="es-ES" smtClean="0"/>
              <a:pPr marL="107314">
                <a:spcBef>
                  <a:spcPts val="204"/>
                </a:spcBef>
              </a:pPr>
              <a:t>2</a:t>
            </a:fld>
            <a:endParaRPr lang="es-ES" dirty="0"/>
          </a:p>
        </p:txBody>
      </p:sp>
      <p:pic>
        <p:nvPicPr>
          <p:cNvPr id="4" name="Imagen 3" descr="Persona en bicicleta en la calle&#10;&#10;Descripción generada automáticamente">
            <a:extLst>
              <a:ext uri="{FF2B5EF4-FFF2-40B4-BE49-F238E27FC236}">
                <a16:creationId xmlns:a16="http://schemas.microsoft.com/office/drawing/2014/main" id="{F2082253-BF57-CDC8-3CB9-EB547D6FE53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965371" y="845991"/>
            <a:ext cx="6226630" cy="6012009"/>
          </a:xfrm>
          <a:prstGeom prst="rect">
            <a:avLst/>
          </a:prstGeom>
        </p:spPr>
      </p:pic>
      <p:cxnSp>
        <p:nvCxnSpPr>
          <p:cNvPr id="5" name="Conector recto 4">
            <a:extLst>
              <a:ext uri="{FF2B5EF4-FFF2-40B4-BE49-F238E27FC236}">
                <a16:creationId xmlns:a16="http://schemas.microsoft.com/office/drawing/2014/main" id="{8D012857-B333-C97F-C296-F449DA4A0F04}"/>
              </a:ext>
            </a:extLst>
          </p:cNvPr>
          <p:cNvCxnSpPr>
            <a:cxnSpLocks/>
          </p:cNvCxnSpPr>
          <p:nvPr/>
        </p:nvCxnSpPr>
        <p:spPr>
          <a:xfrm>
            <a:off x="3940202" y="1557069"/>
            <a:ext cx="20213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80D29698-532B-BBFC-D784-098B875DEA05}"/>
              </a:ext>
            </a:extLst>
          </p:cNvPr>
          <p:cNvCxnSpPr>
            <a:cxnSpLocks/>
          </p:cNvCxnSpPr>
          <p:nvPr/>
        </p:nvCxnSpPr>
        <p:spPr>
          <a:xfrm>
            <a:off x="423863" y="1886792"/>
            <a:ext cx="347201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155B69C2-82DA-4AA2-CE3D-92B1168C4913}"/>
              </a:ext>
            </a:extLst>
          </p:cNvPr>
          <p:cNvSpPr txBox="1">
            <a:spLocks/>
          </p:cNvSpPr>
          <p:nvPr/>
        </p:nvSpPr>
        <p:spPr>
          <a:xfrm>
            <a:off x="369094" y="1184650"/>
            <a:ext cx="10710384" cy="859303"/>
          </a:xfrm>
        </p:spPr>
        <p:txBody>
          <a:bodyPr/>
          <a:lst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indent="0">
              <a:buFont typeface="Arial" panose="020B0604020202020204" pitchFamily="34" charset="0"/>
              <a:buNone/>
            </a:pPr>
            <a:r>
              <a:rPr lang="en-US" sz="4400" dirty="0">
                <a:solidFill>
                  <a:schemeClr val="accent2"/>
                </a:solidFill>
                <a:latin typeface="Santander Headline" panose="020B0504020201020104" pitchFamily="34" charset="0"/>
                <a:ea typeface="+mj-ea"/>
              </a:rPr>
              <a:t>Index</a:t>
            </a:r>
          </a:p>
        </p:txBody>
      </p:sp>
      <p:sp>
        <p:nvSpPr>
          <p:cNvPr id="8" name="Text Placeholder 2">
            <a:extLst>
              <a:ext uri="{FF2B5EF4-FFF2-40B4-BE49-F238E27FC236}">
                <a16:creationId xmlns:a16="http://schemas.microsoft.com/office/drawing/2014/main" id="{B653FEEB-5B1B-5220-1426-D789485673FE}"/>
              </a:ext>
            </a:extLst>
          </p:cNvPr>
          <p:cNvSpPr txBox="1">
            <a:spLocks/>
          </p:cNvSpPr>
          <p:nvPr/>
        </p:nvSpPr>
        <p:spPr>
          <a:xfrm>
            <a:off x="423863" y="1987247"/>
            <a:ext cx="5138082" cy="4488700"/>
          </a:xfrm>
        </p:spPr>
        <p:txBody>
          <a:bodyPr/>
          <a:lst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marL="0" indent="0">
              <a:lnSpc>
                <a:spcPct val="150000"/>
              </a:lnSpc>
              <a:buClr>
                <a:srgbClr val="C00000"/>
              </a:buClr>
              <a:buNone/>
            </a:pPr>
            <a:r>
              <a:rPr lang="en-US" sz="1600" b="1" dirty="0">
                <a:solidFill>
                  <a:srgbClr val="C00000"/>
                </a:solidFill>
              </a:rPr>
              <a:t>1) </a:t>
            </a:r>
            <a:r>
              <a:rPr lang="en-US" sz="1600" b="1" dirty="0"/>
              <a:t>Survey</a:t>
            </a:r>
          </a:p>
          <a:p>
            <a:pPr marL="0" indent="0">
              <a:lnSpc>
                <a:spcPct val="150000"/>
              </a:lnSpc>
              <a:buClr>
                <a:srgbClr val="C00000"/>
              </a:buClr>
              <a:buNone/>
            </a:pPr>
            <a:r>
              <a:rPr lang="en-US" sz="1600" b="1" dirty="0">
                <a:solidFill>
                  <a:srgbClr val="C00000"/>
                </a:solidFill>
              </a:rPr>
              <a:t>2) </a:t>
            </a:r>
            <a:r>
              <a:rPr lang="en-US" sz="1600" b="1" dirty="0"/>
              <a:t>Recent updates in AI</a:t>
            </a:r>
          </a:p>
          <a:p>
            <a:pPr marL="0" indent="0">
              <a:lnSpc>
                <a:spcPct val="150000"/>
              </a:lnSpc>
              <a:buClr>
                <a:srgbClr val="C00000"/>
              </a:buClr>
              <a:buNone/>
            </a:pPr>
            <a:r>
              <a:rPr lang="en-US" sz="1600" b="1" dirty="0">
                <a:solidFill>
                  <a:srgbClr val="C00000"/>
                </a:solidFill>
              </a:rPr>
              <a:t>3)</a:t>
            </a:r>
            <a:r>
              <a:rPr lang="en-US" sz="1600" b="1" dirty="0"/>
              <a:t> Use cases</a:t>
            </a:r>
          </a:p>
          <a:p>
            <a:pPr marL="0" indent="0">
              <a:lnSpc>
                <a:spcPct val="150000"/>
              </a:lnSpc>
              <a:buClr>
                <a:srgbClr val="C00000"/>
              </a:buClr>
              <a:buNone/>
            </a:pPr>
            <a:r>
              <a:rPr lang="en-US" sz="1600" b="1" dirty="0">
                <a:solidFill>
                  <a:srgbClr val="C00000"/>
                </a:solidFill>
              </a:rPr>
              <a:t>     3.1)</a:t>
            </a:r>
            <a:r>
              <a:rPr lang="en-US" sz="1600" b="1" dirty="0"/>
              <a:t> Model Context Protocol (MCP)</a:t>
            </a:r>
          </a:p>
          <a:p>
            <a:pPr marL="0" indent="0">
              <a:lnSpc>
                <a:spcPct val="150000"/>
              </a:lnSpc>
              <a:buClr>
                <a:srgbClr val="C00000"/>
              </a:buClr>
              <a:buNone/>
            </a:pPr>
            <a:r>
              <a:rPr lang="en-US" sz="1600" b="1" dirty="0">
                <a:solidFill>
                  <a:srgbClr val="C00000"/>
                </a:solidFill>
              </a:rPr>
              <a:t>     3.2) </a:t>
            </a:r>
            <a:r>
              <a:rPr lang="en-US" sz="1600" b="1" dirty="0"/>
              <a:t>How Anthropic Built a Multi-Agent Research System</a:t>
            </a:r>
          </a:p>
          <a:p>
            <a:pPr marL="0" indent="0">
              <a:lnSpc>
                <a:spcPct val="150000"/>
              </a:lnSpc>
              <a:buClr>
                <a:srgbClr val="C00000"/>
              </a:buClr>
              <a:buNone/>
            </a:pPr>
            <a:r>
              <a:rPr lang="en-US" sz="1600" b="1" dirty="0"/>
              <a:t>     </a:t>
            </a:r>
            <a:r>
              <a:rPr lang="en-US" sz="1600" b="1" dirty="0">
                <a:solidFill>
                  <a:srgbClr val="C00000"/>
                </a:solidFill>
              </a:rPr>
              <a:t>3.3)</a:t>
            </a:r>
            <a:r>
              <a:rPr lang="en-US" sz="1600" b="1" dirty="0"/>
              <a:t> How to build Custom GPTs &amp; Use Cases </a:t>
            </a:r>
          </a:p>
          <a:p>
            <a:pPr marL="0" indent="0">
              <a:lnSpc>
                <a:spcPct val="150000"/>
              </a:lnSpc>
              <a:buClr>
                <a:srgbClr val="C00000"/>
              </a:buClr>
              <a:buNone/>
            </a:pPr>
            <a:r>
              <a:rPr lang="en-US" sz="1600" b="1" dirty="0">
                <a:solidFill>
                  <a:srgbClr val="C00000"/>
                </a:solidFill>
              </a:rPr>
              <a:t>4) </a:t>
            </a:r>
            <a:r>
              <a:rPr lang="en-US" sz="1600" b="1" dirty="0"/>
              <a:t>Takeaways</a:t>
            </a:r>
          </a:p>
        </p:txBody>
      </p:sp>
    </p:spTree>
    <p:extLst>
      <p:ext uri="{BB962C8B-B14F-4D97-AF65-F5344CB8AC3E}">
        <p14:creationId xmlns:p14="http://schemas.microsoft.com/office/powerpoint/2010/main" val="880935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C498B3-4BF2-E73F-61A1-A9D92BF96060}"/>
              </a:ext>
            </a:extLst>
          </p:cNvPr>
          <p:cNvSpPr>
            <a:spLocks noGrp="1"/>
          </p:cNvSpPr>
          <p:nvPr>
            <p:ph type="body" sz="quarter" idx="49"/>
          </p:nvPr>
        </p:nvSpPr>
        <p:spPr/>
        <p:txBody>
          <a:bodyPr/>
          <a:lstStyle/>
          <a:p>
            <a:r>
              <a:rPr lang="en-US"/>
              <a:t>Thank you</a:t>
            </a:r>
          </a:p>
        </p:txBody>
      </p:sp>
      <p:sp>
        <p:nvSpPr>
          <p:cNvPr id="3" name="Text Placeholder 2">
            <a:extLst>
              <a:ext uri="{FF2B5EF4-FFF2-40B4-BE49-F238E27FC236}">
                <a16:creationId xmlns:a16="http://schemas.microsoft.com/office/drawing/2014/main" id="{3B1AB47A-DE23-85CC-99F4-05D43026BAC9}"/>
              </a:ext>
            </a:extLst>
          </p:cNvPr>
          <p:cNvSpPr>
            <a:spLocks noGrp="1"/>
          </p:cNvSpPr>
          <p:nvPr>
            <p:ph type="body" sz="quarter" idx="50"/>
          </p:nvPr>
        </p:nvSpPr>
        <p:spPr/>
        <p:txBody>
          <a:bodyPr/>
          <a:lstStyle/>
          <a:p>
            <a:r>
              <a:rPr lang="es-ES" dirty="0"/>
              <a:t>Gracias</a:t>
            </a:r>
          </a:p>
        </p:txBody>
      </p:sp>
    </p:spTree>
    <p:extLst>
      <p:ext uri="{BB962C8B-B14F-4D97-AF65-F5344CB8AC3E}">
        <p14:creationId xmlns:p14="http://schemas.microsoft.com/office/powerpoint/2010/main" val="3682512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80118-643A-E702-111F-A738075B622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1175E9BF-D1B2-9907-CED2-A77CA4C8D84B}"/>
              </a:ext>
            </a:extLst>
          </p:cNvPr>
          <p:cNvSpPr>
            <a:spLocks noGrp="1"/>
          </p:cNvSpPr>
          <p:nvPr>
            <p:ph type="ctrTitle"/>
          </p:nvPr>
        </p:nvSpPr>
        <p:spPr>
          <a:xfrm>
            <a:off x="439259" y="939173"/>
            <a:ext cx="11309829" cy="740981"/>
          </a:xfrm>
        </p:spPr>
        <p:txBody>
          <a:bodyPr/>
          <a:lstStyle/>
          <a:p>
            <a:pPr algn="just"/>
            <a:r>
              <a:rPr lang="en-US" dirty="0"/>
              <a:t>1) Survey (I)</a:t>
            </a:r>
          </a:p>
        </p:txBody>
      </p:sp>
      <p:pic>
        <p:nvPicPr>
          <p:cNvPr id="12" name="Imagen 11">
            <a:extLst>
              <a:ext uri="{FF2B5EF4-FFF2-40B4-BE49-F238E27FC236}">
                <a16:creationId xmlns:a16="http://schemas.microsoft.com/office/drawing/2014/main" id="{F203BBB8-0E93-7A2D-3F5A-DC542834D476}"/>
              </a:ext>
            </a:extLst>
          </p:cNvPr>
          <p:cNvPicPr>
            <a:picLocks noChangeAspect="1"/>
          </p:cNvPicPr>
          <p:nvPr/>
        </p:nvPicPr>
        <p:blipFill>
          <a:blip r:embed="rId3"/>
          <a:stretch>
            <a:fillRect/>
          </a:stretch>
        </p:blipFill>
        <p:spPr>
          <a:xfrm>
            <a:off x="536683" y="1943840"/>
            <a:ext cx="4953255" cy="1657435"/>
          </a:xfrm>
          <a:prstGeom prst="rect">
            <a:avLst/>
          </a:prstGeom>
        </p:spPr>
      </p:pic>
      <p:pic>
        <p:nvPicPr>
          <p:cNvPr id="14" name="Imagen 13">
            <a:extLst>
              <a:ext uri="{FF2B5EF4-FFF2-40B4-BE49-F238E27FC236}">
                <a16:creationId xmlns:a16="http://schemas.microsoft.com/office/drawing/2014/main" id="{54D4214A-F146-3323-570F-193B10A1AF64}"/>
              </a:ext>
            </a:extLst>
          </p:cNvPr>
          <p:cNvPicPr>
            <a:picLocks noChangeAspect="1"/>
          </p:cNvPicPr>
          <p:nvPr/>
        </p:nvPicPr>
        <p:blipFill>
          <a:blip r:embed="rId4"/>
          <a:stretch>
            <a:fillRect/>
          </a:stretch>
        </p:blipFill>
        <p:spPr>
          <a:xfrm>
            <a:off x="6094173" y="1943840"/>
            <a:ext cx="4997707" cy="1701887"/>
          </a:xfrm>
          <a:prstGeom prst="rect">
            <a:avLst/>
          </a:prstGeom>
        </p:spPr>
      </p:pic>
      <p:pic>
        <p:nvPicPr>
          <p:cNvPr id="16" name="Imagen 15">
            <a:extLst>
              <a:ext uri="{FF2B5EF4-FFF2-40B4-BE49-F238E27FC236}">
                <a16:creationId xmlns:a16="http://schemas.microsoft.com/office/drawing/2014/main" id="{6D91A1B6-C9EA-6940-5841-6CAB0A25C1B2}"/>
              </a:ext>
            </a:extLst>
          </p:cNvPr>
          <p:cNvPicPr>
            <a:picLocks noChangeAspect="1"/>
          </p:cNvPicPr>
          <p:nvPr/>
        </p:nvPicPr>
        <p:blipFill>
          <a:blip r:embed="rId5"/>
          <a:stretch>
            <a:fillRect/>
          </a:stretch>
        </p:blipFill>
        <p:spPr>
          <a:xfrm>
            <a:off x="540221" y="4433136"/>
            <a:ext cx="4807197" cy="1695537"/>
          </a:xfrm>
          <a:prstGeom prst="rect">
            <a:avLst/>
          </a:prstGeom>
        </p:spPr>
      </p:pic>
      <p:pic>
        <p:nvPicPr>
          <p:cNvPr id="18" name="Imagen 17">
            <a:extLst>
              <a:ext uri="{FF2B5EF4-FFF2-40B4-BE49-F238E27FC236}">
                <a16:creationId xmlns:a16="http://schemas.microsoft.com/office/drawing/2014/main" id="{F340B520-60BE-B525-23F4-2B9EEDBED42B}"/>
              </a:ext>
            </a:extLst>
          </p:cNvPr>
          <p:cNvPicPr>
            <a:picLocks noChangeAspect="1"/>
          </p:cNvPicPr>
          <p:nvPr/>
        </p:nvPicPr>
        <p:blipFill>
          <a:blip r:embed="rId6"/>
          <a:stretch>
            <a:fillRect/>
          </a:stretch>
        </p:blipFill>
        <p:spPr>
          <a:xfrm>
            <a:off x="6094173" y="4433136"/>
            <a:ext cx="4991357" cy="1663786"/>
          </a:xfrm>
          <a:prstGeom prst="rect">
            <a:avLst/>
          </a:prstGeom>
        </p:spPr>
      </p:pic>
    </p:spTree>
    <p:extLst>
      <p:ext uri="{BB962C8B-B14F-4D97-AF65-F5344CB8AC3E}">
        <p14:creationId xmlns:p14="http://schemas.microsoft.com/office/powerpoint/2010/main" val="24286859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FFEC9-D977-73FD-F030-ECB651C9CF32}"/>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6A3A3BAC-8B63-FE88-8EBA-55E23E04DF68}"/>
              </a:ext>
            </a:extLst>
          </p:cNvPr>
          <p:cNvSpPr>
            <a:spLocks noGrp="1"/>
          </p:cNvSpPr>
          <p:nvPr>
            <p:ph type="ctrTitle"/>
          </p:nvPr>
        </p:nvSpPr>
        <p:spPr>
          <a:xfrm>
            <a:off x="439259" y="939173"/>
            <a:ext cx="11309829" cy="740981"/>
          </a:xfrm>
        </p:spPr>
        <p:txBody>
          <a:bodyPr/>
          <a:lstStyle/>
          <a:p>
            <a:pPr algn="just"/>
            <a:r>
              <a:rPr lang="en-US" dirty="0"/>
              <a:t>1) Survey (II)</a:t>
            </a:r>
          </a:p>
        </p:txBody>
      </p:sp>
      <p:sp>
        <p:nvSpPr>
          <p:cNvPr id="11" name="CuadroTexto 10">
            <a:extLst>
              <a:ext uri="{FF2B5EF4-FFF2-40B4-BE49-F238E27FC236}">
                <a16:creationId xmlns:a16="http://schemas.microsoft.com/office/drawing/2014/main" id="{591ACA2D-8232-6019-E1A7-60ADA8C1080E}"/>
              </a:ext>
            </a:extLst>
          </p:cNvPr>
          <p:cNvSpPr txBox="1"/>
          <p:nvPr/>
        </p:nvSpPr>
        <p:spPr>
          <a:xfrm>
            <a:off x="439258" y="4719606"/>
            <a:ext cx="11219342" cy="307777"/>
          </a:xfrm>
          <a:prstGeom prst="rect">
            <a:avLst/>
          </a:prstGeom>
          <a:noFill/>
        </p:spPr>
        <p:txBody>
          <a:bodyPr wrap="square">
            <a:spAutoFit/>
          </a:bodyPr>
          <a:lstStyle/>
          <a:p>
            <a:pPr algn="just"/>
            <a:r>
              <a:rPr lang="en-US" sz="1400" b="1" i="0" dirty="0">
                <a:solidFill>
                  <a:srgbClr val="212121"/>
                </a:solidFill>
                <a:effectLst/>
                <a:latin typeface="Santander Text" panose="020B0504020201020104" pitchFamily="34" charset="0"/>
              </a:rPr>
              <a:t>Would you like to present any other AI news, your idea or comment during the meeting?</a:t>
            </a:r>
            <a:endParaRPr lang="es-ES" sz="1400" b="1" dirty="0">
              <a:latin typeface="Santander Text" panose="020B0504020201020104" pitchFamily="34" charset="0"/>
            </a:endParaRPr>
          </a:p>
        </p:txBody>
      </p:sp>
      <p:sp>
        <p:nvSpPr>
          <p:cNvPr id="12" name="CuadroTexto 11">
            <a:extLst>
              <a:ext uri="{FF2B5EF4-FFF2-40B4-BE49-F238E27FC236}">
                <a16:creationId xmlns:a16="http://schemas.microsoft.com/office/drawing/2014/main" id="{93E60E6D-EA43-22FE-9D59-AA5BB2803CBF}"/>
              </a:ext>
            </a:extLst>
          </p:cNvPr>
          <p:cNvSpPr txBox="1"/>
          <p:nvPr/>
        </p:nvSpPr>
        <p:spPr>
          <a:xfrm>
            <a:off x="439259" y="5083809"/>
            <a:ext cx="11219342" cy="600164"/>
          </a:xfrm>
          <a:prstGeom prst="rect">
            <a:avLst/>
          </a:prstGeom>
          <a:noFill/>
        </p:spPr>
        <p:txBody>
          <a:bodyPr wrap="square">
            <a:spAutoFit/>
          </a:bodyPr>
          <a:lstStyle/>
          <a:p>
            <a:pPr algn="just">
              <a:spcAft>
                <a:spcPts val="600"/>
              </a:spcAft>
            </a:pPr>
            <a:r>
              <a:rPr lang="en-US" sz="1400" i="0" dirty="0">
                <a:solidFill>
                  <a:srgbClr val="C00000"/>
                </a:solidFill>
                <a:effectLst/>
              </a:rPr>
              <a:t>Answers</a:t>
            </a:r>
          </a:p>
          <a:p>
            <a:pPr marL="285750" indent="-285750" algn="just">
              <a:spcAft>
                <a:spcPts val="600"/>
              </a:spcAft>
              <a:buFont typeface="Wingdings" panose="05000000000000000000" pitchFamily="2" charset="2"/>
              <a:buChar char="§"/>
            </a:pPr>
            <a:r>
              <a:rPr lang="en-US" sz="1400" i="0" dirty="0">
                <a:solidFill>
                  <a:srgbClr val="212121"/>
                </a:solidFill>
                <a:effectLst/>
              </a:rPr>
              <a:t>No answers.</a:t>
            </a:r>
            <a:endParaRPr lang="es-ES" sz="1400" dirty="0"/>
          </a:p>
        </p:txBody>
      </p:sp>
      <p:sp>
        <p:nvSpPr>
          <p:cNvPr id="13" name="CuadroTexto 12">
            <a:extLst>
              <a:ext uri="{FF2B5EF4-FFF2-40B4-BE49-F238E27FC236}">
                <a16:creationId xmlns:a16="http://schemas.microsoft.com/office/drawing/2014/main" id="{F4C15732-3FC0-91F0-9D75-F7CE7BC43971}"/>
              </a:ext>
            </a:extLst>
          </p:cNvPr>
          <p:cNvSpPr txBox="1"/>
          <p:nvPr/>
        </p:nvSpPr>
        <p:spPr>
          <a:xfrm>
            <a:off x="439258" y="1418544"/>
            <a:ext cx="10381141" cy="307777"/>
          </a:xfrm>
          <a:prstGeom prst="rect">
            <a:avLst/>
          </a:prstGeom>
          <a:noFill/>
        </p:spPr>
        <p:txBody>
          <a:bodyPr wrap="square">
            <a:spAutoFit/>
          </a:bodyPr>
          <a:lstStyle/>
          <a:p>
            <a:pPr algn="just"/>
            <a:r>
              <a:rPr lang="en-US" sz="1400" b="1" i="0" dirty="0">
                <a:solidFill>
                  <a:srgbClr val="212121"/>
                </a:solidFill>
                <a:effectLst/>
                <a:latin typeface="Santander Text" panose="020B0504020201020104" pitchFamily="34" charset="0"/>
              </a:rPr>
              <a:t>Can you think of any idea, project, or exploratory path that we could evaluate or develop within SAM based on these advances?</a:t>
            </a:r>
          </a:p>
        </p:txBody>
      </p:sp>
      <p:sp>
        <p:nvSpPr>
          <p:cNvPr id="14" name="CuadroTexto 13">
            <a:extLst>
              <a:ext uri="{FF2B5EF4-FFF2-40B4-BE49-F238E27FC236}">
                <a16:creationId xmlns:a16="http://schemas.microsoft.com/office/drawing/2014/main" id="{B465FE55-FE87-88F2-6FBC-96F1929EF897}"/>
              </a:ext>
            </a:extLst>
          </p:cNvPr>
          <p:cNvSpPr txBox="1"/>
          <p:nvPr/>
        </p:nvSpPr>
        <p:spPr>
          <a:xfrm>
            <a:off x="439258" y="1773842"/>
            <a:ext cx="11062460" cy="1400383"/>
          </a:xfrm>
          <a:prstGeom prst="rect">
            <a:avLst/>
          </a:prstGeom>
          <a:noFill/>
        </p:spPr>
        <p:txBody>
          <a:bodyPr wrap="square">
            <a:spAutoFit/>
          </a:bodyPr>
          <a:lstStyle/>
          <a:p>
            <a:pPr algn="just">
              <a:spcAft>
                <a:spcPts val="600"/>
              </a:spcAft>
            </a:pPr>
            <a:r>
              <a:rPr lang="en-US" sz="1400" dirty="0">
                <a:solidFill>
                  <a:srgbClr val="C00000"/>
                </a:solidFill>
              </a:rPr>
              <a:t>Answers</a:t>
            </a:r>
          </a:p>
          <a:p>
            <a:pPr marL="285750" indent="-285750" algn="just">
              <a:spcAft>
                <a:spcPts val="600"/>
              </a:spcAft>
              <a:buFont typeface="Wingdings" panose="05000000000000000000" pitchFamily="2" charset="2"/>
              <a:buChar char="§"/>
            </a:pPr>
            <a:r>
              <a:rPr lang="en-US" sz="1400" dirty="0"/>
              <a:t>I guess the most benefits will com for researchers, as they can access and process many information with simple prompts.</a:t>
            </a:r>
          </a:p>
          <a:p>
            <a:pPr marL="285750" indent="-285750" algn="just">
              <a:spcAft>
                <a:spcPts val="600"/>
              </a:spcAft>
              <a:buFont typeface="Wingdings" panose="05000000000000000000" pitchFamily="2" charset="2"/>
              <a:buChar char="§"/>
            </a:pPr>
            <a:r>
              <a:rPr lang="en-US" sz="1400" dirty="0"/>
              <a:t>"Equity Research AI Agent" using "OpenAI o3-pro“.</a:t>
            </a:r>
          </a:p>
          <a:p>
            <a:pPr marL="285750" indent="-285750" algn="just">
              <a:spcAft>
                <a:spcPts val="600"/>
              </a:spcAft>
              <a:buFont typeface="Wingdings" panose="05000000000000000000" pitchFamily="2" charset="2"/>
              <a:buChar char="§"/>
            </a:pPr>
            <a:r>
              <a:rPr lang="en-US" sz="1400" dirty="0"/>
              <a:t>I believe we should consider expanding our exploratory path beyond LLM (or similar) transformer-based models, particularly for tasks like forecasting and decision-making (e.g., portfolio construction)</a:t>
            </a:r>
            <a:endParaRPr lang="es-ES" sz="1400" dirty="0"/>
          </a:p>
        </p:txBody>
      </p:sp>
    </p:spTree>
    <p:extLst>
      <p:ext uri="{BB962C8B-B14F-4D97-AF65-F5344CB8AC3E}">
        <p14:creationId xmlns:p14="http://schemas.microsoft.com/office/powerpoint/2010/main" val="176582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16C06-5E10-3D27-FDD3-CBECC4B4B2E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0D0F0FBB-CF31-7258-D6B3-FD3CCD13F048}"/>
              </a:ext>
            </a:extLst>
          </p:cNvPr>
          <p:cNvSpPr>
            <a:spLocks noGrp="1"/>
          </p:cNvSpPr>
          <p:nvPr>
            <p:ph type="ctrTitle"/>
          </p:nvPr>
        </p:nvSpPr>
        <p:spPr>
          <a:xfrm>
            <a:off x="439259" y="939173"/>
            <a:ext cx="11309829" cy="740981"/>
          </a:xfrm>
        </p:spPr>
        <p:txBody>
          <a:bodyPr/>
          <a:lstStyle/>
          <a:p>
            <a:pPr algn="just"/>
            <a:r>
              <a:rPr lang="en-US" dirty="0"/>
              <a:t>2) Recent updates in AI</a:t>
            </a:r>
          </a:p>
        </p:txBody>
      </p:sp>
      <p:sp>
        <p:nvSpPr>
          <p:cNvPr id="6" name="Marcador de texto 4">
            <a:extLst>
              <a:ext uri="{FF2B5EF4-FFF2-40B4-BE49-F238E27FC236}">
                <a16:creationId xmlns:a16="http://schemas.microsoft.com/office/drawing/2014/main" id="{8BEF89A0-9B50-124A-6F46-17A2C809E6F0}"/>
              </a:ext>
            </a:extLst>
          </p:cNvPr>
          <p:cNvSpPr txBox="1">
            <a:spLocks/>
          </p:cNvSpPr>
          <p:nvPr/>
        </p:nvSpPr>
        <p:spPr>
          <a:xfrm>
            <a:off x="439259" y="1309663"/>
            <a:ext cx="10664170" cy="575299"/>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buClr>
                <a:srgbClr val="C00000"/>
              </a:buClr>
            </a:pPr>
            <a:r>
              <a:rPr lang="en-US" sz="1600" dirty="0">
                <a:latin typeface="+mn-lt"/>
              </a:rPr>
              <a:t>Recent AI breakthroughs span enterprise integration, open-source developer tools, advanced reasoning models, and ethical training data—highlighting both innovation and adoption at scale.</a:t>
            </a:r>
          </a:p>
        </p:txBody>
      </p:sp>
      <p:sp>
        <p:nvSpPr>
          <p:cNvPr id="16" name="Marcador de texto 4">
            <a:extLst>
              <a:ext uri="{FF2B5EF4-FFF2-40B4-BE49-F238E27FC236}">
                <a16:creationId xmlns:a16="http://schemas.microsoft.com/office/drawing/2014/main" id="{4FEB89AF-6493-CA4A-A375-523CA0F523C1}"/>
              </a:ext>
            </a:extLst>
          </p:cNvPr>
          <p:cNvSpPr txBox="1">
            <a:spLocks/>
          </p:cNvSpPr>
          <p:nvPr/>
        </p:nvSpPr>
        <p:spPr>
          <a:xfrm>
            <a:off x="4293119" y="3989388"/>
            <a:ext cx="3533514" cy="1242618"/>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3) Google Launches Gemini CLI</a:t>
            </a:r>
          </a:p>
          <a:p>
            <a:pPr marL="285750" indent="-285750" algn="just">
              <a:buClr>
                <a:srgbClr val="C00000"/>
              </a:buClr>
              <a:buFont typeface="Wingdings" panose="05000000000000000000" pitchFamily="2" charset="2"/>
              <a:buChar char="§"/>
            </a:pPr>
            <a:r>
              <a:rPr lang="en-US" dirty="0">
                <a:latin typeface="+mn-lt"/>
              </a:rPr>
              <a:t>Brings conversational AI to the terminal for code, docs, and file handling.</a:t>
            </a:r>
          </a:p>
          <a:p>
            <a:pPr marL="285750" indent="-285750" algn="just">
              <a:buClr>
                <a:srgbClr val="C00000"/>
              </a:buClr>
              <a:buFont typeface="Wingdings" panose="05000000000000000000" pitchFamily="2" charset="2"/>
              <a:buChar char="§"/>
            </a:pPr>
            <a:r>
              <a:rPr lang="en-US" dirty="0">
                <a:latin typeface="+mn-lt"/>
              </a:rPr>
              <a:t>Open-source and extensible—positions Gemini as a core interface for developers.</a:t>
            </a:r>
          </a:p>
        </p:txBody>
      </p:sp>
      <p:grpSp>
        <p:nvGrpSpPr>
          <p:cNvPr id="4" name="Grupo 3">
            <a:extLst>
              <a:ext uri="{FF2B5EF4-FFF2-40B4-BE49-F238E27FC236}">
                <a16:creationId xmlns:a16="http://schemas.microsoft.com/office/drawing/2014/main" id="{C33CD93C-1910-AC2F-0792-B6F0E500F84C}"/>
              </a:ext>
            </a:extLst>
          </p:cNvPr>
          <p:cNvGrpSpPr/>
          <p:nvPr/>
        </p:nvGrpSpPr>
        <p:grpSpPr>
          <a:xfrm>
            <a:off x="134465" y="1840125"/>
            <a:ext cx="3965827" cy="2427076"/>
            <a:chOff x="134465" y="1840125"/>
            <a:chExt cx="3965827" cy="2427076"/>
          </a:xfrm>
        </p:grpSpPr>
        <p:sp>
          <p:nvSpPr>
            <p:cNvPr id="25" name="Rectángulo 24">
              <a:extLst>
                <a:ext uri="{FF2B5EF4-FFF2-40B4-BE49-F238E27FC236}">
                  <a16:creationId xmlns:a16="http://schemas.microsoft.com/office/drawing/2014/main" id="{3DC411D3-02E6-2C49-577E-431E3D1FF260}"/>
                </a:ext>
              </a:extLst>
            </p:cNvPr>
            <p:cNvSpPr/>
            <p:nvPr/>
          </p:nvSpPr>
          <p:spPr>
            <a:xfrm>
              <a:off x="134465" y="2204353"/>
              <a:ext cx="3965827" cy="2062848"/>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Marcador de texto 4">
              <a:extLst>
                <a:ext uri="{FF2B5EF4-FFF2-40B4-BE49-F238E27FC236}">
                  <a16:creationId xmlns:a16="http://schemas.microsoft.com/office/drawing/2014/main" id="{5BB125DB-F813-949A-99A7-A9A6AC44B387}"/>
                </a:ext>
              </a:extLst>
            </p:cNvPr>
            <p:cNvSpPr txBox="1">
              <a:spLocks/>
            </p:cNvSpPr>
            <p:nvPr/>
          </p:nvSpPr>
          <p:spPr>
            <a:xfrm>
              <a:off x="757022" y="1840125"/>
              <a:ext cx="2674055" cy="728455"/>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Aladdin</a:t>
              </a:r>
            </a:p>
          </p:txBody>
        </p:sp>
        <p:sp>
          <p:nvSpPr>
            <p:cNvPr id="14" name="Marcador de texto 4">
              <a:extLst>
                <a:ext uri="{FF2B5EF4-FFF2-40B4-BE49-F238E27FC236}">
                  <a16:creationId xmlns:a16="http://schemas.microsoft.com/office/drawing/2014/main" id="{E3CF0BD5-F2D8-4DDE-B1A9-1CBB336FB670}"/>
                </a:ext>
              </a:extLst>
            </p:cNvPr>
            <p:cNvSpPr txBox="1">
              <a:spLocks/>
            </p:cNvSpPr>
            <p:nvPr/>
          </p:nvSpPr>
          <p:spPr>
            <a:xfrm>
              <a:off x="327292" y="2596424"/>
              <a:ext cx="3533514" cy="1431873"/>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1) Aladdin Copilot</a:t>
              </a:r>
            </a:p>
            <a:p>
              <a:pPr marL="285750" indent="-285750" algn="just">
                <a:buClr>
                  <a:srgbClr val="C00000"/>
                </a:buClr>
                <a:buFont typeface="Wingdings" panose="05000000000000000000" pitchFamily="2" charset="2"/>
                <a:buChar char="§"/>
              </a:pPr>
              <a:r>
                <a:rPr lang="en-US" dirty="0">
                  <a:latin typeface="+mn-lt"/>
                </a:rPr>
                <a:t>From July 18, users can query portfolio analytics and summarize research notes using natural language across all Aladdin apps.</a:t>
              </a:r>
            </a:p>
            <a:p>
              <a:pPr marL="285750" indent="-285750" algn="just">
                <a:buClr>
                  <a:srgbClr val="C00000"/>
                </a:buClr>
                <a:buFont typeface="Wingdings" panose="05000000000000000000" pitchFamily="2" charset="2"/>
                <a:buChar char="§"/>
              </a:pPr>
              <a:r>
                <a:rPr lang="en-US" dirty="0">
                  <a:latin typeface="+mn-lt"/>
                </a:rPr>
                <a:t>Marks the first native integration of generative AI in Aladdin—making advanced insights accessible to any user.</a:t>
              </a:r>
            </a:p>
          </p:txBody>
        </p:sp>
      </p:grpSp>
      <p:sp>
        <p:nvSpPr>
          <p:cNvPr id="17" name="Marcador de texto 4">
            <a:extLst>
              <a:ext uri="{FF2B5EF4-FFF2-40B4-BE49-F238E27FC236}">
                <a16:creationId xmlns:a16="http://schemas.microsoft.com/office/drawing/2014/main" id="{E489FA0E-5146-4715-B5C6-F21415523D81}"/>
              </a:ext>
            </a:extLst>
          </p:cNvPr>
          <p:cNvSpPr txBox="1">
            <a:spLocks/>
          </p:cNvSpPr>
          <p:nvPr/>
        </p:nvSpPr>
        <p:spPr>
          <a:xfrm>
            <a:off x="4357016" y="2473055"/>
            <a:ext cx="3535200" cy="1341786"/>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fr-FR" b="1" dirty="0">
                <a:latin typeface="Santander Text" panose="020B0504020201020104" pitchFamily="34" charset="0"/>
              </a:rPr>
              <a:t>2) o3-pro: </a:t>
            </a:r>
            <a:r>
              <a:rPr lang="fr-FR" b="1" dirty="0" err="1">
                <a:latin typeface="Santander Text" panose="020B0504020201020104" pitchFamily="34" charset="0"/>
              </a:rPr>
              <a:t>OpenAI’s</a:t>
            </a:r>
            <a:r>
              <a:rPr lang="fr-FR" b="1" dirty="0">
                <a:latin typeface="Santander Text" panose="020B0504020201020104" pitchFamily="34" charset="0"/>
              </a:rPr>
              <a:t> </a:t>
            </a:r>
            <a:r>
              <a:rPr lang="fr-FR" b="1" dirty="0" err="1">
                <a:latin typeface="Santander Text" panose="020B0504020201020104" pitchFamily="34" charset="0"/>
              </a:rPr>
              <a:t>Reasoning</a:t>
            </a:r>
            <a:r>
              <a:rPr lang="fr-FR" b="1" dirty="0">
                <a:latin typeface="Santander Text" panose="020B0504020201020104" pitchFamily="34" charset="0"/>
              </a:rPr>
              <a:t>-First </a:t>
            </a:r>
            <a:r>
              <a:rPr lang="fr-FR" b="1" dirty="0" err="1">
                <a:latin typeface="Santander Text" panose="020B0504020201020104" pitchFamily="34" charset="0"/>
              </a:rPr>
              <a:t>Powerhouse</a:t>
            </a:r>
            <a:endParaRPr lang="en-US" b="1" dirty="0">
              <a:latin typeface="Santander Text" panose="020B0504020201020104" pitchFamily="34" charset="0"/>
            </a:endParaRPr>
          </a:p>
          <a:p>
            <a:pPr marL="285750" indent="-285750" algn="just">
              <a:buClr>
                <a:srgbClr val="C00000"/>
              </a:buClr>
              <a:buFont typeface="Wingdings" panose="05000000000000000000" pitchFamily="2" charset="2"/>
              <a:buChar char="§"/>
            </a:pPr>
            <a:r>
              <a:rPr lang="en-US" dirty="0">
                <a:latin typeface="+mn-lt"/>
              </a:rPr>
              <a:t>Excels in complex tasks like math, science, and code; outperforms previous OpenAI models.</a:t>
            </a:r>
          </a:p>
          <a:p>
            <a:pPr marL="285750" indent="-285750" algn="just">
              <a:buClr>
                <a:srgbClr val="C00000"/>
              </a:buClr>
              <a:buFont typeface="Wingdings" panose="05000000000000000000" pitchFamily="2" charset="2"/>
              <a:buChar char="§"/>
            </a:pPr>
            <a:r>
              <a:rPr lang="en-US" dirty="0">
                <a:latin typeface="+mn-lt"/>
              </a:rPr>
              <a:t>High latency and cost make it ideal only for tasks requiring deep multi-step reasoning.</a:t>
            </a:r>
          </a:p>
        </p:txBody>
      </p:sp>
      <p:sp>
        <p:nvSpPr>
          <p:cNvPr id="27" name="Rectángulo 26">
            <a:extLst>
              <a:ext uri="{FF2B5EF4-FFF2-40B4-BE49-F238E27FC236}">
                <a16:creationId xmlns:a16="http://schemas.microsoft.com/office/drawing/2014/main" id="{A18CB189-6B2F-FF05-C878-C05BFBA1E48F}"/>
              </a:ext>
            </a:extLst>
          </p:cNvPr>
          <p:cNvSpPr/>
          <p:nvPr/>
        </p:nvSpPr>
        <p:spPr>
          <a:xfrm>
            <a:off x="4143602" y="2204352"/>
            <a:ext cx="3916607" cy="3210592"/>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Marcador de texto 4">
            <a:extLst>
              <a:ext uri="{FF2B5EF4-FFF2-40B4-BE49-F238E27FC236}">
                <a16:creationId xmlns:a16="http://schemas.microsoft.com/office/drawing/2014/main" id="{6DC94D33-0540-8411-9AFF-BC554570FD22}"/>
              </a:ext>
            </a:extLst>
          </p:cNvPr>
          <p:cNvSpPr txBox="1">
            <a:spLocks/>
          </p:cNvSpPr>
          <p:nvPr/>
        </p:nvSpPr>
        <p:spPr>
          <a:xfrm>
            <a:off x="4787589" y="1840125"/>
            <a:ext cx="2674055" cy="728455"/>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AI models</a:t>
            </a:r>
          </a:p>
        </p:txBody>
      </p:sp>
      <p:grpSp>
        <p:nvGrpSpPr>
          <p:cNvPr id="37" name="Grupo 36">
            <a:extLst>
              <a:ext uri="{FF2B5EF4-FFF2-40B4-BE49-F238E27FC236}">
                <a16:creationId xmlns:a16="http://schemas.microsoft.com/office/drawing/2014/main" id="{8976AAF8-1F55-AD82-9D98-6FFA3060D36A}"/>
              </a:ext>
            </a:extLst>
          </p:cNvPr>
          <p:cNvGrpSpPr/>
          <p:nvPr/>
        </p:nvGrpSpPr>
        <p:grpSpPr>
          <a:xfrm>
            <a:off x="8102772" y="1840125"/>
            <a:ext cx="3965827" cy="3780746"/>
            <a:chOff x="439259" y="1840125"/>
            <a:chExt cx="3965827" cy="3780746"/>
          </a:xfrm>
        </p:grpSpPr>
        <p:sp>
          <p:nvSpPr>
            <p:cNvPr id="38" name="Marcador de texto 4">
              <a:extLst>
                <a:ext uri="{FF2B5EF4-FFF2-40B4-BE49-F238E27FC236}">
                  <a16:creationId xmlns:a16="http://schemas.microsoft.com/office/drawing/2014/main" id="{691FDFAE-1869-C9D8-593E-52E54B8D9BA8}"/>
                </a:ext>
              </a:extLst>
            </p:cNvPr>
            <p:cNvSpPr txBox="1">
              <a:spLocks/>
            </p:cNvSpPr>
            <p:nvPr/>
          </p:nvSpPr>
          <p:spPr>
            <a:xfrm>
              <a:off x="632086" y="2596424"/>
              <a:ext cx="3533514" cy="1431873"/>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5) Apple Updates Its Foundation Models (AFM)</a:t>
              </a:r>
            </a:p>
            <a:p>
              <a:pPr marL="285750" indent="-285750" algn="just">
                <a:buClr>
                  <a:srgbClr val="C00000"/>
                </a:buClr>
                <a:buFont typeface="Wingdings" panose="05000000000000000000" pitchFamily="2" charset="2"/>
                <a:buChar char="§"/>
              </a:pPr>
              <a:r>
                <a:rPr lang="en-US" dirty="0">
                  <a:latin typeface="+mn-lt"/>
                </a:rPr>
                <a:t>AFM-on-device and AFM-server enable vision-language tasks with efficient deployment.</a:t>
              </a:r>
            </a:p>
            <a:p>
              <a:pPr marL="285750" indent="-285750" algn="just">
                <a:buClr>
                  <a:srgbClr val="C00000"/>
                </a:buClr>
                <a:buFont typeface="Wingdings" panose="05000000000000000000" pitchFamily="2" charset="2"/>
                <a:buChar char="§"/>
              </a:pPr>
              <a:r>
                <a:rPr lang="en-US" dirty="0">
                  <a:latin typeface="+mn-lt"/>
                </a:rPr>
                <a:t>Focus on edge AI integration could boost Apple’s position in on-device intelligence.</a:t>
              </a:r>
            </a:p>
          </p:txBody>
        </p:sp>
        <p:sp>
          <p:nvSpPr>
            <p:cNvPr id="39" name="Marcador de texto 4">
              <a:extLst>
                <a:ext uri="{FF2B5EF4-FFF2-40B4-BE49-F238E27FC236}">
                  <a16:creationId xmlns:a16="http://schemas.microsoft.com/office/drawing/2014/main" id="{CC4DDFF4-761D-995B-6DF0-1E7532E18886}"/>
                </a:ext>
              </a:extLst>
            </p:cNvPr>
            <p:cNvSpPr txBox="1">
              <a:spLocks/>
            </p:cNvSpPr>
            <p:nvPr/>
          </p:nvSpPr>
          <p:spPr>
            <a:xfrm>
              <a:off x="632086" y="3989388"/>
              <a:ext cx="3533514" cy="1425556"/>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6) </a:t>
              </a:r>
              <a:r>
                <a:rPr lang="en-US" b="1" dirty="0" err="1">
                  <a:latin typeface="Santander Text" panose="020B0504020201020104" pitchFamily="34" charset="0"/>
                </a:rPr>
                <a:t>BitNet</a:t>
              </a:r>
              <a:r>
                <a:rPr lang="en-US" b="1" dirty="0">
                  <a:latin typeface="Santander Text" panose="020B0504020201020104" pitchFamily="34" charset="0"/>
                </a:rPr>
                <a:t> b1.58: Lightweight LLM with Strong Performance</a:t>
              </a:r>
            </a:p>
            <a:p>
              <a:pPr marL="285750" indent="-285750" algn="just">
                <a:buClr>
                  <a:srgbClr val="C00000"/>
                </a:buClr>
                <a:buFont typeface="Wingdings" panose="05000000000000000000" pitchFamily="2" charset="2"/>
                <a:buChar char="§"/>
              </a:pPr>
              <a:r>
                <a:rPr lang="en-US" dirty="0">
                  <a:latin typeface="+mn-lt"/>
                </a:rPr>
                <a:t>Uses ultra-low precision (1.58-bit) weights to run fast and efficiently with strong results.</a:t>
              </a:r>
            </a:p>
            <a:p>
              <a:pPr marL="285750" indent="-285750" algn="just">
                <a:buClr>
                  <a:srgbClr val="C00000"/>
                </a:buClr>
                <a:buFont typeface="Wingdings" panose="05000000000000000000" pitchFamily="2" charset="2"/>
                <a:buChar char="§"/>
              </a:pPr>
              <a:r>
                <a:rPr lang="en-US" dirty="0">
                  <a:latin typeface="+mn-lt"/>
                </a:rPr>
                <a:t>Matches or beats many small models—ideal for low-resource environments.</a:t>
              </a:r>
            </a:p>
          </p:txBody>
        </p:sp>
        <p:sp>
          <p:nvSpPr>
            <p:cNvPr id="41" name="Rectángulo 40">
              <a:extLst>
                <a:ext uri="{FF2B5EF4-FFF2-40B4-BE49-F238E27FC236}">
                  <a16:creationId xmlns:a16="http://schemas.microsoft.com/office/drawing/2014/main" id="{1D17B2A6-1FC3-8256-10F3-3AFCA2296B20}"/>
                </a:ext>
              </a:extLst>
            </p:cNvPr>
            <p:cNvSpPr/>
            <p:nvPr/>
          </p:nvSpPr>
          <p:spPr>
            <a:xfrm>
              <a:off x="439259" y="2204352"/>
              <a:ext cx="3965827" cy="3416519"/>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Marcador de texto 4">
              <a:extLst>
                <a:ext uri="{FF2B5EF4-FFF2-40B4-BE49-F238E27FC236}">
                  <a16:creationId xmlns:a16="http://schemas.microsoft.com/office/drawing/2014/main" id="{9320906B-9399-F7D8-A216-3D8FA59FFFD9}"/>
                </a:ext>
              </a:extLst>
            </p:cNvPr>
            <p:cNvSpPr txBox="1">
              <a:spLocks/>
            </p:cNvSpPr>
            <p:nvPr/>
          </p:nvSpPr>
          <p:spPr>
            <a:xfrm>
              <a:off x="1061816" y="1840125"/>
              <a:ext cx="2674055" cy="728455"/>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Foundational Models &amp; Quantization</a:t>
              </a:r>
            </a:p>
          </p:txBody>
        </p:sp>
      </p:grpSp>
      <p:grpSp>
        <p:nvGrpSpPr>
          <p:cNvPr id="43" name="Grupo 42">
            <a:extLst>
              <a:ext uri="{FF2B5EF4-FFF2-40B4-BE49-F238E27FC236}">
                <a16:creationId xmlns:a16="http://schemas.microsoft.com/office/drawing/2014/main" id="{64ED50A7-AB2A-7F01-F5AB-15829F2C15D0}"/>
              </a:ext>
            </a:extLst>
          </p:cNvPr>
          <p:cNvGrpSpPr/>
          <p:nvPr/>
        </p:nvGrpSpPr>
        <p:grpSpPr>
          <a:xfrm>
            <a:off x="135745" y="4267201"/>
            <a:ext cx="3964547" cy="2263534"/>
            <a:chOff x="4695134" y="1840125"/>
            <a:chExt cx="3916607" cy="1819507"/>
          </a:xfrm>
        </p:grpSpPr>
        <p:sp>
          <p:nvSpPr>
            <p:cNvPr id="45" name="Rectángulo 44">
              <a:extLst>
                <a:ext uri="{FF2B5EF4-FFF2-40B4-BE49-F238E27FC236}">
                  <a16:creationId xmlns:a16="http://schemas.microsoft.com/office/drawing/2014/main" id="{F10211DB-E9CE-756B-FFAA-2E035271535F}"/>
                </a:ext>
              </a:extLst>
            </p:cNvPr>
            <p:cNvSpPr/>
            <p:nvPr/>
          </p:nvSpPr>
          <p:spPr>
            <a:xfrm>
              <a:off x="4695134" y="2204352"/>
              <a:ext cx="3916607" cy="1455280"/>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6" name="Marcador de texto 4">
              <a:extLst>
                <a:ext uri="{FF2B5EF4-FFF2-40B4-BE49-F238E27FC236}">
                  <a16:creationId xmlns:a16="http://schemas.microsoft.com/office/drawing/2014/main" id="{2911DFDA-7CBF-CE55-8527-50CF72078341}"/>
                </a:ext>
              </a:extLst>
            </p:cNvPr>
            <p:cNvSpPr txBox="1">
              <a:spLocks/>
            </p:cNvSpPr>
            <p:nvPr/>
          </p:nvSpPr>
          <p:spPr>
            <a:xfrm>
              <a:off x="5339121" y="1840125"/>
              <a:ext cx="2674055" cy="728455"/>
            </a:xfrm>
            <a:prstGeom prst="rect">
              <a:avLst/>
            </a:prstGeom>
            <a:solidFill>
              <a:schemeClr val="bg1"/>
            </a:solidFill>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buClr>
                  <a:srgbClr val="C00000"/>
                </a:buClr>
              </a:pPr>
              <a:r>
                <a:rPr lang="en-US" sz="1600" b="1" dirty="0">
                  <a:solidFill>
                    <a:srgbClr val="C00000"/>
                  </a:solidFill>
                  <a:latin typeface="Santander Text" panose="020B0504020201020104" pitchFamily="34" charset="0"/>
                </a:rPr>
                <a:t>Datasets</a:t>
              </a:r>
            </a:p>
          </p:txBody>
        </p:sp>
        <p:sp>
          <p:nvSpPr>
            <p:cNvPr id="44" name="Marcador de texto 4">
              <a:extLst>
                <a:ext uri="{FF2B5EF4-FFF2-40B4-BE49-F238E27FC236}">
                  <a16:creationId xmlns:a16="http://schemas.microsoft.com/office/drawing/2014/main" id="{9947456F-95BE-E86D-DF69-B445F45E839E}"/>
                </a:ext>
              </a:extLst>
            </p:cNvPr>
            <p:cNvSpPr txBox="1">
              <a:spLocks/>
            </p:cNvSpPr>
            <p:nvPr/>
          </p:nvSpPr>
          <p:spPr>
            <a:xfrm>
              <a:off x="4908548" y="2473055"/>
              <a:ext cx="3535200" cy="1101424"/>
            </a:xfrm>
            <a:prstGeom prst="rect">
              <a:avLst/>
            </a:prstGeom>
          </p:spPr>
          <p:txBody>
            <a:bodyPr lIns="0" tIns="0" rIns="0" bIns="0" anchor="ctr">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b="1" dirty="0">
                  <a:latin typeface="Santander Text" panose="020B0504020201020104" pitchFamily="34" charset="0"/>
                </a:rPr>
                <a:t>4) Harvard Releases Massive Book Dataset to Train AI</a:t>
              </a:r>
            </a:p>
            <a:p>
              <a:pPr marL="285750" indent="-285750" algn="just">
                <a:buClr>
                  <a:srgbClr val="C00000"/>
                </a:buClr>
                <a:buFont typeface="Wingdings" panose="05000000000000000000" pitchFamily="2" charset="2"/>
                <a:buChar char="§"/>
              </a:pPr>
              <a:r>
                <a:rPr lang="en-US" dirty="0">
                  <a:latin typeface="+mn-lt"/>
                </a:rPr>
                <a:t>Nearly 1M public domain books released for LLM training (242B tokens, 254 languages).</a:t>
              </a:r>
            </a:p>
            <a:p>
              <a:pPr marL="285750" indent="-285750" algn="just">
                <a:buClr>
                  <a:srgbClr val="C00000"/>
                </a:buClr>
                <a:buFont typeface="Wingdings" panose="05000000000000000000" pitchFamily="2" charset="2"/>
                <a:buChar char="§"/>
              </a:pPr>
              <a:r>
                <a:rPr lang="en-US" dirty="0">
                  <a:latin typeface="+mn-lt"/>
                </a:rPr>
                <a:t>Offers a vast, legally safe alternative to copyrighted content for AI training.</a:t>
              </a:r>
            </a:p>
          </p:txBody>
        </p:sp>
      </p:grpSp>
    </p:spTree>
    <p:extLst>
      <p:ext uri="{BB962C8B-B14F-4D97-AF65-F5344CB8AC3E}">
        <p14:creationId xmlns:p14="http://schemas.microsoft.com/office/powerpoint/2010/main" val="12437811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D7587-9249-65BA-3591-E685C83DB19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C8035EEC-9AC8-B71D-AB5F-8B13BF6A5FF3}"/>
              </a:ext>
            </a:extLst>
          </p:cNvPr>
          <p:cNvSpPr>
            <a:spLocks noGrp="1"/>
          </p:cNvSpPr>
          <p:nvPr>
            <p:ph type="ctrTitle"/>
          </p:nvPr>
        </p:nvSpPr>
        <p:spPr>
          <a:xfrm>
            <a:off x="439259" y="939173"/>
            <a:ext cx="11309829" cy="740981"/>
          </a:xfrm>
        </p:spPr>
        <p:txBody>
          <a:bodyPr/>
          <a:lstStyle/>
          <a:p>
            <a:pPr algn="just"/>
            <a:r>
              <a:rPr lang="en-US" dirty="0"/>
              <a:t>2.1) Aladdin Copilot</a:t>
            </a:r>
          </a:p>
        </p:txBody>
      </p:sp>
      <p:sp>
        <p:nvSpPr>
          <p:cNvPr id="6" name="Marcador de texto 4">
            <a:extLst>
              <a:ext uri="{FF2B5EF4-FFF2-40B4-BE49-F238E27FC236}">
                <a16:creationId xmlns:a16="http://schemas.microsoft.com/office/drawing/2014/main" id="{7F3A3E6B-049F-605D-9A22-A38D364AFB3E}"/>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BlackRock launches AI-powered assistants in Aladdin, enabling natural language queries across portfolio data and investment research. The update goes live on July 18.</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Portfolio Agent: </a:t>
            </a:r>
            <a:r>
              <a:rPr lang="en-US" sz="1800" dirty="0">
                <a:latin typeface="+mn-lt"/>
              </a:rPr>
              <a:t>Users can ask questions on exposures, risk, and performance using over 100 analytics fields—now accessible via chat across all Aladdin apps.</a:t>
            </a:r>
          </a:p>
          <a:p>
            <a:pPr marL="285750" indent="-285750" algn="just">
              <a:buClr>
                <a:srgbClr val="C00000"/>
              </a:buClr>
              <a:buFont typeface="Wingdings" panose="05000000000000000000" pitchFamily="2" charset="2"/>
              <a:buChar char="§"/>
            </a:pPr>
            <a:r>
              <a:rPr lang="en-US" sz="1800" b="1" dirty="0">
                <a:latin typeface="+mn-lt"/>
              </a:rPr>
              <a:t>Research Agent: </a:t>
            </a:r>
            <a:r>
              <a:rPr lang="en-US" sz="1800" dirty="0">
                <a:latin typeface="+mn-lt"/>
              </a:rPr>
              <a:t>Summarizes and analyzes research notes, with keyword extraction and source linking built in.</a:t>
            </a:r>
          </a:p>
        </p:txBody>
      </p:sp>
      <p:sp>
        <p:nvSpPr>
          <p:cNvPr id="4" name="CuadroTexto 3">
            <a:extLst>
              <a:ext uri="{FF2B5EF4-FFF2-40B4-BE49-F238E27FC236}">
                <a16:creationId xmlns:a16="http://schemas.microsoft.com/office/drawing/2014/main" id="{8D235F53-2B5B-5D30-E390-E1F1E98DDD46}"/>
              </a:ext>
            </a:extLst>
          </p:cNvPr>
          <p:cNvSpPr txBox="1"/>
          <p:nvPr/>
        </p:nvSpPr>
        <p:spPr>
          <a:xfrm>
            <a:off x="439259" y="5489323"/>
            <a:ext cx="6070398" cy="923330"/>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This is the first native integration of generative AI in Aladdin. It brings powerful analytics and research workflows to any user, just by asking.</a:t>
            </a:r>
            <a:endParaRPr lang="es-ES" dirty="0">
              <a:solidFill>
                <a:schemeClr val="bg1"/>
              </a:solidFill>
              <a:latin typeface="Santander Text" panose="020B0504020201020104" pitchFamily="34" charset="0"/>
            </a:endParaRPr>
          </a:p>
        </p:txBody>
      </p:sp>
      <p:sp>
        <p:nvSpPr>
          <p:cNvPr id="7" name="CuadroTexto 6">
            <a:extLst>
              <a:ext uri="{FF2B5EF4-FFF2-40B4-BE49-F238E27FC236}">
                <a16:creationId xmlns:a16="http://schemas.microsoft.com/office/drawing/2014/main" id="{2C7BA4D6-FEDC-25EB-0371-FF4CD00D153F}"/>
              </a:ext>
            </a:extLst>
          </p:cNvPr>
          <p:cNvSpPr txBox="1"/>
          <p:nvPr/>
        </p:nvSpPr>
        <p:spPr>
          <a:xfrm>
            <a:off x="6892216" y="5531276"/>
            <a:ext cx="4641783" cy="954107"/>
          </a:xfrm>
          <a:prstGeom prst="rect">
            <a:avLst/>
          </a:prstGeom>
          <a:noFill/>
        </p:spPr>
        <p:txBody>
          <a:bodyPr wrap="square">
            <a:spAutoFit/>
          </a:bodyPr>
          <a:lstStyle/>
          <a:p>
            <a:r>
              <a:rPr lang="en-US" sz="1400" b="1" dirty="0">
                <a:latin typeface="Santander Text" panose="020B0504020201020104" pitchFamily="34" charset="0"/>
              </a:rPr>
              <a:t>Links:</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s-ES" sz="1400" dirty="0">
                <a:hlinkClick r:id="rId3"/>
              </a:rPr>
              <a:t>Video </a:t>
            </a:r>
            <a:r>
              <a:rPr lang="es-ES" sz="1400" dirty="0" err="1">
                <a:hlinkClick r:id="rId3"/>
              </a:rPr>
              <a:t>Results</a:t>
            </a:r>
            <a:r>
              <a:rPr lang="es-ES" sz="1400" dirty="0">
                <a:hlinkClick r:id="rId3"/>
              </a:rPr>
              <a:t> | </a:t>
            </a:r>
            <a:r>
              <a:rPr lang="es-ES" sz="1400" dirty="0" err="1">
                <a:hlinkClick r:id="rId3"/>
              </a:rPr>
              <a:t>Aladdin</a:t>
            </a:r>
            <a:r>
              <a:rPr lang="es-ES" sz="1400" dirty="0">
                <a:hlinkClick r:id="rId3"/>
              </a:rPr>
              <a:t> Hub</a:t>
            </a:r>
            <a:endParaRPr lang="es-ES" sz="1400" dirty="0"/>
          </a:p>
          <a:p>
            <a:pPr marL="285750" indent="-285750">
              <a:buFont typeface="Wingdings" panose="05000000000000000000" pitchFamily="2" charset="2"/>
              <a:buChar char="Ø"/>
            </a:pPr>
            <a:endParaRPr lang="es-ES" sz="1400" dirty="0"/>
          </a:p>
        </p:txBody>
      </p:sp>
      <p:pic>
        <p:nvPicPr>
          <p:cNvPr id="9" name="Imagen 8">
            <a:extLst>
              <a:ext uri="{FF2B5EF4-FFF2-40B4-BE49-F238E27FC236}">
                <a16:creationId xmlns:a16="http://schemas.microsoft.com/office/drawing/2014/main" id="{7680BB46-9CF4-5CCD-8C3C-3D5008B58082}"/>
              </a:ext>
            </a:extLst>
          </p:cNvPr>
          <p:cNvPicPr>
            <a:picLocks noChangeAspect="1"/>
          </p:cNvPicPr>
          <p:nvPr/>
        </p:nvPicPr>
        <p:blipFill>
          <a:blip r:embed="rId4"/>
          <a:stretch>
            <a:fillRect/>
          </a:stretch>
        </p:blipFill>
        <p:spPr>
          <a:xfrm>
            <a:off x="6916258" y="1564257"/>
            <a:ext cx="4641783" cy="3789810"/>
          </a:xfrm>
          <a:prstGeom prst="rect">
            <a:avLst/>
          </a:prstGeom>
        </p:spPr>
      </p:pic>
    </p:spTree>
    <p:extLst>
      <p:ext uri="{BB962C8B-B14F-4D97-AF65-F5344CB8AC3E}">
        <p14:creationId xmlns:p14="http://schemas.microsoft.com/office/powerpoint/2010/main" val="26040436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C994A-27E3-A86E-CE9E-C2881A2C6FD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62748080-A24C-C8C7-404B-5CE92FB764D3}"/>
              </a:ext>
            </a:extLst>
          </p:cNvPr>
          <p:cNvSpPr>
            <a:spLocks noGrp="1"/>
          </p:cNvSpPr>
          <p:nvPr>
            <p:ph type="ctrTitle"/>
          </p:nvPr>
        </p:nvSpPr>
        <p:spPr>
          <a:xfrm>
            <a:off x="439259" y="939173"/>
            <a:ext cx="11309829" cy="740981"/>
          </a:xfrm>
        </p:spPr>
        <p:txBody>
          <a:bodyPr/>
          <a:lstStyle/>
          <a:p>
            <a:pPr algn="just"/>
            <a:r>
              <a:rPr lang="en-US" dirty="0"/>
              <a:t>2.2) o3-pro: OpenAI’s Reasoning-First Powerhouse (Available in SAM)</a:t>
            </a:r>
          </a:p>
        </p:txBody>
      </p:sp>
      <p:sp>
        <p:nvSpPr>
          <p:cNvPr id="6" name="Marcador de texto 4">
            <a:extLst>
              <a:ext uri="{FF2B5EF4-FFF2-40B4-BE49-F238E27FC236}">
                <a16:creationId xmlns:a16="http://schemas.microsoft.com/office/drawing/2014/main" id="{FF637865-3E85-3203-374B-2C19432A6B73}"/>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OpenAI released o3-pro, its most advanced model for logic-heavy tasks like math, coding, and science.</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Capabilities</a:t>
            </a:r>
            <a:r>
              <a:rPr lang="en-US" sz="1800" dirty="0">
                <a:latin typeface="+mn-lt"/>
              </a:rPr>
              <a:t>: Processes up to 200K input tokens and delivers highly accurate results on AIME, GPQA Diamond, and </a:t>
            </a:r>
            <a:r>
              <a:rPr lang="en-US" sz="1800" dirty="0" err="1">
                <a:latin typeface="+mn-lt"/>
              </a:rPr>
              <a:t>Codeforces</a:t>
            </a:r>
            <a:r>
              <a:rPr lang="en-US" sz="1800" dirty="0">
                <a:latin typeface="+mn-lt"/>
              </a:rPr>
              <a:t> benchmarks.</a:t>
            </a:r>
          </a:p>
          <a:p>
            <a:pPr marL="285750" indent="-285750" algn="just">
              <a:buClr>
                <a:srgbClr val="C00000"/>
              </a:buClr>
              <a:buFont typeface="Wingdings" panose="05000000000000000000" pitchFamily="2" charset="2"/>
              <a:buChar char="§"/>
            </a:pPr>
            <a:r>
              <a:rPr lang="en-US" sz="1800" b="1" dirty="0">
                <a:latin typeface="+mn-lt"/>
              </a:rPr>
              <a:t>Performance</a:t>
            </a:r>
            <a:r>
              <a:rPr lang="en-US" sz="1800" dirty="0">
                <a:latin typeface="+mn-lt"/>
              </a:rPr>
              <a:t>: Outperforms o3 and o1-pro in nearly all evaluated tasks, especially multi-step reasoning challenges.</a:t>
            </a:r>
          </a:p>
          <a:p>
            <a:pPr marL="285750" indent="-285750" algn="just">
              <a:buClr>
                <a:srgbClr val="C00000"/>
              </a:buClr>
              <a:buFont typeface="Wingdings" panose="05000000000000000000" pitchFamily="2" charset="2"/>
              <a:buChar char="§"/>
            </a:pPr>
            <a:r>
              <a:rPr lang="en-US" sz="1800" b="1" dirty="0">
                <a:latin typeface="+mn-lt"/>
              </a:rPr>
              <a:t>Tradeoff</a:t>
            </a:r>
            <a:r>
              <a:rPr lang="en-US" sz="1800" dirty="0">
                <a:latin typeface="+mn-lt"/>
              </a:rPr>
              <a:t>: Extremely slow (129 seconds to first token) and costly ($20–$80 per million tokens).</a:t>
            </a:r>
          </a:p>
        </p:txBody>
      </p:sp>
      <p:sp>
        <p:nvSpPr>
          <p:cNvPr id="4" name="CuadroTexto 3">
            <a:extLst>
              <a:ext uri="{FF2B5EF4-FFF2-40B4-BE49-F238E27FC236}">
                <a16:creationId xmlns:a16="http://schemas.microsoft.com/office/drawing/2014/main" id="{DE110A49-BF26-C4C7-616A-D4DC80F98B09}"/>
              </a:ext>
            </a:extLst>
          </p:cNvPr>
          <p:cNvSpPr txBox="1"/>
          <p:nvPr/>
        </p:nvSpPr>
        <p:spPr>
          <a:xfrm>
            <a:off x="439259" y="5489323"/>
            <a:ext cx="6070398" cy="1200329"/>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o3-pro pushes the frontier of reasoning LLMs, ideal for specialized scientific use cases. Developers now face a tradeoff between speed and depth of thought, calibrating model selection to task complexity.</a:t>
            </a:r>
            <a:endParaRPr lang="es-ES" dirty="0">
              <a:solidFill>
                <a:schemeClr val="bg1"/>
              </a:solidFill>
              <a:latin typeface="Santander Text" panose="020B0504020201020104" pitchFamily="34" charset="0"/>
            </a:endParaRPr>
          </a:p>
        </p:txBody>
      </p:sp>
      <p:pic>
        <p:nvPicPr>
          <p:cNvPr id="3" name="Imagen 2" descr="OpenAI o3-pro outperforms o3 and o1-pro on math, science, and coding benchmarks, but responds much more slowly.">
            <a:extLst>
              <a:ext uri="{FF2B5EF4-FFF2-40B4-BE49-F238E27FC236}">
                <a16:creationId xmlns:a16="http://schemas.microsoft.com/office/drawing/2014/main" id="{02727842-869A-D89F-AE34-3F046A0C9917}"/>
              </a:ext>
            </a:extLst>
          </p:cNvPr>
          <p:cNvPicPr>
            <a:picLocks noChangeAspect="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6892216" y="2203691"/>
            <a:ext cx="4999349" cy="2816543"/>
          </a:xfrm>
          <a:prstGeom prst="rect">
            <a:avLst/>
          </a:prstGeom>
          <a:noFill/>
          <a:ln>
            <a:noFill/>
          </a:ln>
        </p:spPr>
      </p:pic>
      <p:sp>
        <p:nvSpPr>
          <p:cNvPr id="7" name="CuadroTexto 6">
            <a:extLst>
              <a:ext uri="{FF2B5EF4-FFF2-40B4-BE49-F238E27FC236}">
                <a16:creationId xmlns:a16="http://schemas.microsoft.com/office/drawing/2014/main" id="{FCE7AFCD-8BA0-57CC-92DA-5259FF6D04FC}"/>
              </a:ext>
            </a:extLst>
          </p:cNvPr>
          <p:cNvSpPr txBox="1"/>
          <p:nvPr/>
        </p:nvSpPr>
        <p:spPr>
          <a:xfrm>
            <a:off x="6892216" y="5334051"/>
            <a:ext cx="4641783" cy="1384995"/>
          </a:xfrm>
          <a:prstGeom prst="rect">
            <a:avLst/>
          </a:prstGeom>
          <a:noFill/>
        </p:spPr>
        <p:txBody>
          <a:bodyPr wrap="square">
            <a:spAutoFit/>
          </a:bodyPr>
          <a:lstStyle/>
          <a:p>
            <a:r>
              <a:rPr lang="en-US" sz="1400" b="1" dirty="0">
                <a:latin typeface="Santander Text" panose="020B0504020201020104" pitchFamily="34" charset="0"/>
              </a:rPr>
              <a:t>Links:</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n-US" sz="1400" dirty="0">
                <a:hlinkClick r:id="rId5"/>
              </a:rPr>
              <a:t>Model Release Notes | OpenAI Help Center</a:t>
            </a:r>
            <a:endParaRPr lang="es-ES" sz="1400" dirty="0"/>
          </a:p>
          <a:p>
            <a:pPr marL="285750" indent="-285750">
              <a:buClr>
                <a:srgbClr val="005471"/>
              </a:buClr>
              <a:buFont typeface="Wingdings" panose="05000000000000000000" pitchFamily="2" charset="2"/>
              <a:buChar char="Ø"/>
            </a:pPr>
            <a:r>
              <a:rPr lang="es-ES" sz="1400" dirty="0" err="1">
                <a:hlinkClick r:id="rId6"/>
              </a:rPr>
              <a:t>ChatGPT</a:t>
            </a:r>
            <a:r>
              <a:rPr lang="es-ES" sz="1400" dirty="0">
                <a:hlinkClick r:id="rId6"/>
              </a:rPr>
              <a:t> Enterprise - </a:t>
            </a:r>
            <a:r>
              <a:rPr lang="es-ES" sz="1400" dirty="0" err="1">
                <a:hlinkClick r:id="rId6"/>
              </a:rPr>
              <a:t>Models</a:t>
            </a:r>
            <a:r>
              <a:rPr lang="es-ES" sz="1400" dirty="0">
                <a:hlinkClick r:id="rId6"/>
              </a:rPr>
              <a:t> &amp; </a:t>
            </a:r>
            <a:r>
              <a:rPr lang="es-ES" sz="1400" dirty="0" err="1">
                <a:hlinkClick r:id="rId6"/>
              </a:rPr>
              <a:t>Limits</a:t>
            </a:r>
            <a:r>
              <a:rPr lang="es-ES" sz="1400" dirty="0">
                <a:hlinkClick r:id="rId6"/>
              </a:rPr>
              <a:t> | </a:t>
            </a:r>
            <a:r>
              <a:rPr lang="es-ES" sz="1400" dirty="0" err="1">
                <a:hlinkClick r:id="rId6"/>
              </a:rPr>
              <a:t>OpenAI</a:t>
            </a:r>
            <a:r>
              <a:rPr lang="es-ES" sz="1400" dirty="0">
                <a:hlinkClick r:id="rId6"/>
              </a:rPr>
              <a:t> </a:t>
            </a:r>
            <a:r>
              <a:rPr lang="es-ES" sz="1400" dirty="0" err="1">
                <a:hlinkClick r:id="rId6"/>
              </a:rPr>
              <a:t>Help</a:t>
            </a:r>
            <a:r>
              <a:rPr lang="es-ES" sz="1400" dirty="0">
                <a:hlinkClick r:id="rId6"/>
              </a:rPr>
              <a:t> Center</a:t>
            </a:r>
            <a:endParaRPr lang="es-ES" sz="1400" dirty="0"/>
          </a:p>
          <a:p>
            <a:pPr marL="285750" indent="-285750">
              <a:buFont typeface="Wingdings" panose="05000000000000000000" pitchFamily="2" charset="2"/>
              <a:buChar char="Ø"/>
            </a:pPr>
            <a:endParaRPr lang="es-ES" sz="1400" dirty="0"/>
          </a:p>
        </p:txBody>
      </p:sp>
    </p:spTree>
    <p:extLst>
      <p:ext uri="{BB962C8B-B14F-4D97-AF65-F5344CB8AC3E}">
        <p14:creationId xmlns:p14="http://schemas.microsoft.com/office/powerpoint/2010/main" val="22412933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CB76B-A682-7915-F78F-CFE11BA453B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3B37F899-FA53-4C24-4646-4B6B9E903329}"/>
              </a:ext>
            </a:extLst>
          </p:cNvPr>
          <p:cNvSpPr>
            <a:spLocks noGrp="1"/>
          </p:cNvSpPr>
          <p:nvPr>
            <p:ph type="ctrTitle"/>
          </p:nvPr>
        </p:nvSpPr>
        <p:spPr>
          <a:xfrm>
            <a:off x="439259" y="939173"/>
            <a:ext cx="11309829" cy="740981"/>
          </a:xfrm>
        </p:spPr>
        <p:txBody>
          <a:bodyPr/>
          <a:lstStyle/>
          <a:p>
            <a:pPr algn="just"/>
            <a:r>
              <a:rPr lang="en-US" dirty="0"/>
              <a:t>2.3) Google Launches Gemini CLI: Open-Source AI Agent for Developers</a:t>
            </a:r>
          </a:p>
        </p:txBody>
      </p:sp>
      <p:sp>
        <p:nvSpPr>
          <p:cNvPr id="6" name="Marcador de texto 4">
            <a:extLst>
              <a:ext uri="{FF2B5EF4-FFF2-40B4-BE49-F238E27FC236}">
                <a16:creationId xmlns:a16="http://schemas.microsoft.com/office/drawing/2014/main" id="{1066E964-838A-CADB-44E4-9CC80E76975A}"/>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Google has released Gemini CLI, a new open-source command-line AI agent designed to assist developers with everyday tasks in natural language.</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Purpose: </a:t>
            </a:r>
            <a:r>
              <a:rPr lang="en-US" sz="1800" dirty="0">
                <a:latin typeface="+mn-lt"/>
              </a:rPr>
              <a:t>Brings conversational AI to the developer terminal — letting users run commands, read documentation, write code, and interact with files using natural language.</a:t>
            </a:r>
          </a:p>
          <a:p>
            <a:pPr marL="285750" indent="-285750" algn="just">
              <a:buClr>
                <a:srgbClr val="C00000"/>
              </a:buClr>
              <a:buFont typeface="Wingdings" panose="05000000000000000000" pitchFamily="2" charset="2"/>
              <a:buChar char="§"/>
            </a:pPr>
            <a:r>
              <a:rPr lang="en-US" sz="1800" b="1" dirty="0">
                <a:latin typeface="+mn-lt"/>
              </a:rPr>
              <a:t>Technology</a:t>
            </a:r>
            <a:r>
              <a:rPr lang="en-US" sz="1800" dirty="0">
                <a:latin typeface="+mn-lt"/>
              </a:rPr>
              <a:t>: Powered by Gemini 1.5 Pro via the Vertex AI SDK, with plans to support other models in the future. The CLI agent runs locally but calls model APIs via the cloud.</a:t>
            </a:r>
          </a:p>
          <a:p>
            <a:pPr marL="285750" indent="-285750" algn="just">
              <a:buClr>
                <a:srgbClr val="C00000"/>
              </a:buClr>
              <a:buFont typeface="Wingdings" panose="05000000000000000000" pitchFamily="2" charset="2"/>
              <a:buChar char="§"/>
            </a:pPr>
            <a:r>
              <a:rPr lang="en-US" sz="1800" b="1" dirty="0">
                <a:latin typeface="+mn-lt"/>
              </a:rPr>
              <a:t>Open Source: </a:t>
            </a:r>
            <a:r>
              <a:rPr lang="en-US" sz="1800" dirty="0">
                <a:latin typeface="+mn-lt"/>
              </a:rPr>
              <a:t>Available on GitHub under the Apache 2.0 license. Google encourages contributions and extensions</a:t>
            </a:r>
            <a:r>
              <a:rPr lang="en-US" sz="1800" b="1" dirty="0">
                <a:latin typeface="+mn-lt"/>
              </a:rPr>
              <a:t>.</a:t>
            </a:r>
            <a:endParaRPr lang="en-US" sz="1800" dirty="0">
              <a:latin typeface="+mn-lt"/>
            </a:endParaRPr>
          </a:p>
        </p:txBody>
      </p:sp>
      <p:sp>
        <p:nvSpPr>
          <p:cNvPr id="4" name="CuadroTexto 3">
            <a:extLst>
              <a:ext uri="{FF2B5EF4-FFF2-40B4-BE49-F238E27FC236}">
                <a16:creationId xmlns:a16="http://schemas.microsoft.com/office/drawing/2014/main" id="{0F66483D-300F-864B-E899-DF51DDBEE45B}"/>
              </a:ext>
            </a:extLst>
          </p:cNvPr>
          <p:cNvSpPr txBox="1"/>
          <p:nvPr/>
        </p:nvSpPr>
        <p:spPr>
          <a:xfrm>
            <a:off x="439259" y="5489323"/>
            <a:ext cx="6070398" cy="1200329"/>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Highlights a growing trend: embedding conversational agents into developer workflows. By open-sourcing the tool, Google is positioning Gemini as a key interface between developers and AI.</a:t>
            </a:r>
            <a:endParaRPr lang="es-ES" dirty="0">
              <a:solidFill>
                <a:schemeClr val="bg1"/>
              </a:solidFill>
              <a:latin typeface="Santander Text" panose="020B0504020201020104" pitchFamily="34" charset="0"/>
            </a:endParaRPr>
          </a:p>
        </p:txBody>
      </p:sp>
      <p:sp>
        <p:nvSpPr>
          <p:cNvPr id="7" name="CuadroTexto 6">
            <a:extLst>
              <a:ext uri="{FF2B5EF4-FFF2-40B4-BE49-F238E27FC236}">
                <a16:creationId xmlns:a16="http://schemas.microsoft.com/office/drawing/2014/main" id="{2C231F40-ED21-060A-0A17-1851668B7FFA}"/>
              </a:ext>
            </a:extLst>
          </p:cNvPr>
          <p:cNvSpPr txBox="1"/>
          <p:nvPr/>
        </p:nvSpPr>
        <p:spPr>
          <a:xfrm>
            <a:off x="6892216" y="5334051"/>
            <a:ext cx="4641783" cy="1169551"/>
          </a:xfrm>
          <a:prstGeom prst="rect">
            <a:avLst/>
          </a:prstGeom>
          <a:noFill/>
        </p:spPr>
        <p:txBody>
          <a:bodyPr wrap="square">
            <a:spAutoFit/>
          </a:bodyPr>
          <a:lstStyle/>
          <a:p>
            <a:r>
              <a:rPr lang="en-US" sz="1400" b="1" dirty="0">
                <a:latin typeface="Santander Text" panose="020B0504020201020104" pitchFamily="34" charset="0"/>
              </a:rPr>
              <a:t>Links:</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s-ES" sz="1400" dirty="0">
                <a:hlinkClick r:id="rId3"/>
              </a:rPr>
              <a:t>https://blog.google/technology/developers/introducing-gemini-cli-open-source-ai-agent/</a:t>
            </a:r>
            <a:endParaRPr lang="es-ES" sz="1400" dirty="0"/>
          </a:p>
          <a:p>
            <a:pPr marL="285750" indent="-285750">
              <a:buFont typeface="Wingdings" panose="05000000000000000000" pitchFamily="2" charset="2"/>
              <a:buChar char="Ø"/>
            </a:pPr>
            <a:endParaRPr lang="es-ES" sz="1400" dirty="0"/>
          </a:p>
        </p:txBody>
      </p:sp>
      <p:pic>
        <p:nvPicPr>
          <p:cNvPr id="8" name="Imagen 7">
            <a:extLst>
              <a:ext uri="{FF2B5EF4-FFF2-40B4-BE49-F238E27FC236}">
                <a16:creationId xmlns:a16="http://schemas.microsoft.com/office/drawing/2014/main" id="{62275A97-C768-96AB-7B0B-CE25F3EE487B}"/>
              </a:ext>
            </a:extLst>
          </p:cNvPr>
          <p:cNvPicPr>
            <a:picLocks noChangeAspect="1"/>
          </p:cNvPicPr>
          <p:nvPr/>
        </p:nvPicPr>
        <p:blipFill>
          <a:blip r:embed="rId4"/>
          <a:stretch>
            <a:fillRect/>
          </a:stretch>
        </p:blipFill>
        <p:spPr>
          <a:xfrm>
            <a:off x="6890565" y="1917450"/>
            <a:ext cx="4545027" cy="2639048"/>
          </a:xfrm>
          <a:prstGeom prst="rect">
            <a:avLst/>
          </a:prstGeom>
        </p:spPr>
      </p:pic>
    </p:spTree>
    <p:extLst>
      <p:ext uri="{BB962C8B-B14F-4D97-AF65-F5344CB8AC3E}">
        <p14:creationId xmlns:p14="http://schemas.microsoft.com/office/powerpoint/2010/main" val="3338159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29ADE1-B3D7-1349-0369-9D7CB7EAB6F5}"/>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9D2F6C1D-FEDC-702C-5020-F94D872F3968}"/>
              </a:ext>
            </a:extLst>
          </p:cNvPr>
          <p:cNvSpPr>
            <a:spLocks noGrp="1"/>
          </p:cNvSpPr>
          <p:nvPr>
            <p:ph type="ctrTitle"/>
          </p:nvPr>
        </p:nvSpPr>
        <p:spPr>
          <a:xfrm>
            <a:off x="439259" y="939173"/>
            <a:ext cx="11309829" cy="740981"/>
          </a:xfrm>
        </p:spPr>
        <p:txBody>
          <a:bodyPr/>
          <a:lstStyle/>
          <a:p>
            <a:pPr algn="just"/>
            <a:r>
              <a:rPr lang="en-US" dirty="0"/>
              <a:t>2.4) Harvard Releases Massive Book Dataset to Train AI</a:t>
            </a:r>
          </a:p>
        </p:txBody>
      </p:sp>
      <p:sp>
        <p:nvSpPr>
          <p:cNvPr id="6" name="Marcador de texto 4">
            <a:extLst>
              <a:ext uri="{FF2B5EF4-FFF2-40B4-BE49-F238E27FC236}">
                <a16:creationId xmlns:a16="http://schemas.microsoft.com/office/drawing/2014/main" id="{646AC361-A9CD-B09B-FD22-3A537C56C047}"/>
              </a:ext>
            </a:extLst>
          </p:cNvPr>
          <p:cNvSpPr txBox="1">
            <a:spLocks/>
          </p:cNvSpPr>
          <p:nvPr/>
        </p:nvSpPr>
        <p:spPr>
          <a:xfrm>
            <a:off x="439260" y="1647124"/>
            <a:ext cx="6070398" cy="4334577"/>
          </a:xfrm>
          <a:prstGeom prst="rect">
            <a:avLst/>
          </a:prstGeom>
        </p:spPr>
        <p:txBody>
          <a:bodyPr lIns="0" tIns="0" rIns="0" bIns="0" anchor="t">
            <a:noAutofit/>
          </a:bodyPr>
          <a:lstStyle>
            <a:lvl1pPr marL="0" indent="0" algn="l" defTabSz="742950" rtl="0" eaLnBrk="1" latinLnBrk="0" hangingPunct="1">
              <a:lnSpc>
                <a:spcPct val="100000"/>
              </a:lnSpc>
              <a:spcBef>
                <a:spcPts val="813"/>
              </a:spcBef>
              <a:buFont typeface="Arial" panose="020B0604020202020204" pitchFamily="34" charset="0"/>
              <a:buNone/>
              <a:defRPr sz="1200" i="0" kern="1200" baseline="0">
                <a:solidFill>
                  <a:schemeClr val="tx1"/>
                </a:solidFill>
                <a:latin typeface="Santander Text Light" panose="020B0304020201020104" pitchFamily="34" charset="0"/>
                <a:ea typeface="+mn-ea"/>
                <a:cs typeface="Arial" panose="020B0604020202020204" pitchFamily="34" charset="0"/>
              </a:defRPr>
            </a:lvl1pPr>
            <a:lvl2pPr marL="37147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2pPr>
            <a:lvl3pPr marL="74295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3pPr>
            <a:lvl4pPr marL="1114425"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4pPr>
            <a:lvl5pPr marL="1485900" indent="0" algn="l" defTabSz="742950" rtl="0" eaLnBrk="1" latinLnBrk="0" hangingPunct="1">
              <a:lnSpc>
                <a:spcPct val="90000"/>
              </a:lnSpc>
              <a:spcBef>
                <a:spcPts val="406"/>
              </a:spcBef>
              <a:buFont typeface="Arial" panose="020B0604020202020204" pitchFamily="34" charset="0"/>
              <a:buNone/>
              <a:defRPr sz="1788"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just">
              <a:buClr>
                <a:srgbClr val="C00000"/>
              </a:buClr>
            </a:pPr>
            <a:r>
              <a:rPr lang="en-US" sz="1800" dirty="0">
                <a:latin typeface="+mn-lt"/>
              </a:rPr>
              <a:t>Harvard University has publicly released Institutional Books 1.0, a dataset of nearly one million digitized books, to support the development of large AI models.</a:t>
            </a:r>
            <a:endParaRPr lang="en-US" sz="1800" b="1" dirty="0">
              <a:latin typeface="+mn-lt"/>
            </a:endParaRPr>
          </a:p>
          <a:p>
            <a:pPr marL="285750" indent="-285750" algn="just">
              <a:buClr>
                <a:srgbClr val="C00000"/>
              </a:buClr>
              <a:buFont typeface="Wingdings" panose="05000000000000000000" pitchFamily="2" charset="2"/>
              <a:buChar char="§"/>
            </a:pPr>
            <a:r>
              <a:rPr lang="en-US" sz="1800" b="1" dirty="0">
                <a:latin typeface="+mn-lt"/>
              </a:rPr>
              <a:t>Scale</a:t>
            </a:r>
            <a:r>
              <a:rPr lang="en-US" sz="1800" dirty="0">
                <a:latin typeface="+mn-lt"/>
              </a:rPr>
              <a:t>: 394 million scanned pages and 242 billion tokens, covering 254 languages and texts dating back to the 15th century.</a:t>
            </a:r>
          </a:p>
          <a:p>
            <a:pPr marL="285750" indent="-285750" algn="just">
              <a:buClr>
                <a:srgbClr val="C00000"/>
              </a:buClr>
              <a:buFont typeface="Wingdings" panose="05000000000000000000" pitchFamily="2" charset="2"/>
              <a:buChar char="§"/>
            </a:pPr>
            <a:r>
              <a:rPr lang="en-US" sz="1800" b="1" dirty="0">
                <a:latin typeface="+mn-lt"/>
              </a:rPr>
              <a:t>Content</a:t>
            </a:r>
            <a:r>
              <a:rPr lang="en-US" sz="1800" dirty="0">
                <a:latin typeface="+mn-lt"/>
              </a:rPr>
              <a:t>: Public domain material from literature, law, agriculture, and philosophy—avoiding modern copyright issues.</a:t>
            </a:r>
          </a:p>
          <a:p>
            <a:pPr marL="285750" indent="-285750" algn="just">
              <a:buClr>
                <a:srgbClr val="C00000"/>
              </a:buClr>
              <a:buFont typeface="Wingdings" panose="05000000000000000000" pitchFamily="2" charset="2"/>
              <a:buChar char="§"/>
            </a:pPr>
            <a:r>
              <a:rPr lang="en-US" sz="1800" b="1" dirty="0">
                <a:latin typeface="+mn-lt"/>
              </a:rPr>
              <a:t>Availability</a:t>
            </a:r>
            <a:r>
              <a:rPr lang="en-US" sz="1800" dirty="0">
                <a:latin typeface="+mn-lt"/>
              </a:rPr>
              <a:t>: Free to download on Hugging Face; backed financially by Microsoft and OpenAI.</a:t>
            </a:r>
          </a:p>
        </p:txBody>
      </p:sp>
      <p:sp>
        <p:nvSpPr>
          <p:cNvPr id="4" name="CuadroTexto 3">
            <a:extLst>
              <a:ext uri="{FF2B5EF4-FFF2-40B4-BE49-F238E27FC236}">
                <a16:creationId xmlns:a16="http://schemas.microsoft.com/office/drawing/2014/main" id="{D808C393-A724-2032-9DE8-0B1B1BCFE463}"/>
              </a:ext>
            </a:extLst>
          </p:cNvPr>
          <p:cNvSpPr txBox="1"/>
          <p:nvPr/>
        </p:nvSpPr>
        <p:spPr>
          <a:xfrm>
            <a:off x="439259" y="5489323"/>
            <a:ext cx="6070398" cy="1200329"/>
          </a:xfrm>
          <a:prstGeom prst="rect">
            <a:avLst/>
          </a:prstGeom>
          <a:solidFill>
            <a:srgbClr val="C00000"/>
          </a:solidFill>
        </p:spPr>
        <p:txBody>
          <a:bodyPr wrap="square">
            <a:spAutoFit/>
          </a:bodyPr>
          <a:lstStyle/>
          <a:p>
            <a:pPr algn="just"/>
            <a:r>
              <a:rPr lang="en-US" b="1" u="sng" dirty="0">
                <a:solidFill>
                  <a:schemeClr val="bg1"/>
                </a:solidFill>
                <a:latin typeface="Santander Text" panose="020B0504020201020104" pitchFamily="34" charset="0"/>
              </a:rPr>
              <a:t>Why it matters:</a:t>
            </a:r>
            <a:r>
              <a:rPr lang="en-US" dirty="0">
                <a:solidFill>
                  <a:schemeClr val="bg1"/>
                </a:solidFill>
                <a:latin typeface="Santander Text" panose="020B0504020201020104" pitchFamily="34" charset="0"/>
              </a:rPr>
              <a:t> Amid growing legal scrutiny over the use of copyrighted data, Harvard’s release offers a vast, ethical alternative for training LLMs—potentially reshaping how AI systems are built and scaled.</a:t>
            </a:r>
            <a:endParaRPr lang="es-ES" dirty="0">
              <a:solidFill>
                <a:schemeClr val="bg1"/>
              </a:solidFill>
              <a:latin typeface="Santander Text" panose="020B0504020201020104" pitchFamily="34" charset="0"/>
            </a:endParaRPr>
          </a:p>
        </p:txBody>
      </p:sp>
      <p:sp>
        <p:nvSpPr>
          <p:cNvPr id="7" name="CuadroTexto 6">
            <a:extLst>
              <a:ext uri="{FF2B5EF4-FFF2-40B4-BE49-F238E27FC236}">
                <a16:creationId xmlns:a16="http://schemas.microsoft.com/office/drawing/2014/main" id="{F411F693-FDAB-4FEE-A7CF-AF434D3FE9C7}"/>
              </a:ext>
            </a:extLst>
          </p:cNvPr>
          <p:cNvSpPr txBox="1"/>
          <p:nvPr/>
        </p:nvSpPr>
        <p:spPr>
          <a:xfrm>
            <a:off x="6892216" y="5334051"/>
            <a:ext cx="4641783" cy="1169551"/>
          </a:xfrm>
          <a:prstGeom prst="rect">
            <a:avLst/>
          </a:prstGeom>
          <a:noFill/>
        </p:spPr>
        <p:txBody>
          <a:bodyPr wrap="square">
            <a:spAutoFit/>
          </a:bodyPr>
          <a:lstStyle/>
          <a:p>
            <a:r>
              <a:rPr lang="en-US" sz="1400" b="1" dirty="0">
                <a:latin typeface="Santander Text" panose="020B0504020201020104" pitchFamily="34" charset="0"/>
              </a:rPr>
              <a:t>Links:</a:t>
            </a:r>
          </a:p>
          <a:p>
            <a:endParaRPr lang="en-US" sz="1400" b="1" dirty="0">
              <a:latin typeface="Santander Text" panose="020B0504020201020104" pitchFamily="34" charset="0"/>
            </a:endParaRPr>
          </a:p>
          <a:p>
            <a:pPr marL="285750" indent="-285750">
              <a:buClr>
                <a:srgbClr val="005471"/>
              </a:buClr>
              <a:buFont typeface="Wingdings" panose="05000000000000000000" pitchFamily="2" charset="2"/>
              <a:buChar char="Ø"/>
            </a:pPr>
            <a:r>
              <a:rPr lang="en-US" sz="1400" dirty="0">
                <a:hlinkClick r:id="rId3"/>
              </a:rPr>
              <a:t>Libraries open their stacks up as training data for artificial intelligence platforms | AP News</a:t>
            </a:r>
            <a:endParaRPr lang="es-ES" sz="1400" dirty="0"/>
          </a:p>
          <a:p>
            <a:pPr marL="285750" indent="-285750">
              <a:buFont typeface="Wingdings" panose="05000000000000000000" pitchFamily="2" charset="2"/>
              <a:buChar char="Ø"/>
            </a:pPr>
            <a:endParaRPr lang="es-ES" sz="1400" dirty="0"/>
          </a:p>
        </p:txBody>
      </p:sp>
      <p:pic>
        <p:nvPicPr>
          <p:cNvPr id="5" name="Imagen 4">
            <a:extLst>
              <a:ext uri="{FF2B5EF4-FFF2-40B4-BE49-F238E27FC236}">
                <a16:creationId xmlns:a16="http://schemas.microsoft.com/office/drawing/2014/main" id="{FB74B5AD-8782-57C1-6BCA-E3CC614CE1B7}"/>
              </a:ext>
            </a:extLst>
          </p:cNvPr>
          <p:cNvPicPr>
            <a:picLocks noChangeAspect="1"/>
          </p:cNvPicPr>
          <p:nvPr/>
        </p:nvPicPr>
        <p:blipFill>
          <a:blip r:embed="rId4"/>
          <a:stretch>
            <a:fillRect/>
          </a:stretch>
        </p:blipFill>
        <p:spPr>
          <a:xfrm>
            <a:off x="6960398" y="1823327"/>
            <a:ext cx="4397884" cy="3047182"/>
          </a:xfrm>
          <a:prstGeom prst="rect">
            <a:avLst/>
          </a:prstGeom>
        </p:spPr>
      </p:pic>
    </p:spTree>
    <p:extLst>
      <p:ext uri="{BB962C8B-B14F-4D97-AF65-F5344CB8AC3E}">
        <p14:creationId xmlns:p14="http://schemas.microsoft.com/office/powerpoint/2010/main" val="22212496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M_Cover Pages, Cover Pages, Impact Phrases">
  <a:themeElements>
    <a:clrScheme name="SAM COLORES DEFINITIVOS">
      <a:dk1>
        <a:srgbClr val="000715"/>
      </a:dk1>
      <a:lt1>
        <a:srgbClr val="FFFFFF"/>
      </a:lt1>
      <a:dk2>
        <a:srgbClr val="E8E8E8"/>
      </a:dk2>
      <a:lt2>
        <a:srgbClr val="AEAEAE"/>
      </a:lt2>
      <a:accent1>
        <a:srgbClr val="002630"/>
      </a:accent1>
      <a:accent2>
        <a:srgbClr val="005471"/>
      </a:accent2>
      <a:accent3>
        <a:srgbClr val="EC0000"/>
      </a:accent3>
      <a:accent4>
        <a:srgbClr val="E8E8E8"/>
      </a:accent4>
      <a:accent5>
        <a:srgbClr val="9A004F"/>
      </a:accent5>
      <a:accent6>
        <a:srgbClr val="D0B047"/>
      </a:accent6>
      <a:hlink>
        <a:srgbClr val="005471"/>
      </a:hlink>
      <a:folHlink>
        <a:srgbClr val="D0D0D0"/>
      </a:folHlink>
    </a:clrScheme>
    <a:fontScheme name="SA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AM Template">
  <a:themeElements>
    <a:clrScheme name="SAM COLORES DEFINITIVOS">
      <a:dk1>
        <a:srgbClr val="000715"/>
      </a:dk1>
      <a:lt1>
        <a:srgbClr val="FFFFFF"/>
      </a:lt1>
      <a:dk2>
        <a:srgbClr val="E8E8E8"/>
      </a:dk2>
      <a:lt2>
        <a:srgbClr val="AEAEAE"/>
      </a:lt2>
      <a:accent1>
        <a:srgbClr val="002630"/>
      </a:accent1>
      <a:accent2>
        <a:srgbClr val="005471"/>
      </a:accent2>
      <a:accent3>
        <a:srgbClr val="EC0000"/>
      </a:accent3>
      <a:accent4>
        <a:srgbClr val="E8E8E8"/>
      </a:accent4>
      <a:accent5>
        <a:srgbClr val="9A004F"/>
      </a:accent5>
      <a:accent6>
        <a:srgbClr val="D0B047"/>
      </a:accent6>
      <a:hlink>
        <a:srgbClr val="005471"/>
      </a:hlink>
      <a:folHlink>
        <a:srgbClr val="D0D0D0"/>
      </a:folHlink>
    </a:clrScheme>
    <a:fontScheme name="SAM_2021">
      <a:majorFont>
        <a:latin typeface="Santander Headline Light"/>
        <a:ea typeface=""/>
        <a:cs typeface=""/>
      </a:majorFont>
      <a:minorFont>
        <a:latin typeface="Santander Tex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502</Words>
  <Application>Microsoft Office PowerPoint</Application>
  <PresentationFormat>Panorámica</PresentationFormat>
  <Paragraphs>216</Paragraphs>
  <Slides>20</Slides>
  <Notes>17</Notes>
  <HiddenSlides>0</HiddenSlides>
  <MMClips>0</MMClips>
  <ScaleCrop>false</ScaleCrop>
  <HeadingPairs>
    <vt:vector size="8" baseType="variant">
      <vt:variant>
        <vt:lpstr>Fuentes usadas</vt:lpstr>
      </vt:variant>
      <vt:variant>
        <vt:i4>7</vt:i4>
      </vt:variant>
      <vt:variant>
        <vt:lpstr>Tema</vt:lpstr>
      </vt:variant>
      <vt:variant>
        <vt:i4>2</vt:i4>
      </vt:variant>
      <vt:variant>
        <vt:lpstr>Servidores OLE incrustados</vt:lpstr>
      </vt:variant>
      <vt:variant>
        <vt:i4>1</vt:i4>
      </vt:variant>
      <vt:variant>
        <vt:lpstr>Títulos de diapositiva</vt:lpstr>
      </vt:variant>
      <vt:variant>
        <vt:i4>20</vt:i4>
      </vt:variant>
    </vt:vector>
  </HeadingPairs>
  <TitlesOfParts>
    <vt:vector size="30" baseType="lpstr">
      <vt:lpstr>Santander Headline</vt:lpstr>
      <vt:lpstr>Arial</vt:lpstr>
      <vt:lpstr>Calibri</vt:lpstr>
      <vt:lpstr>Courier New</vt:lpstr>
      <vt:lpstr>Santander Text</vt:lpstr>
      <vt:lpstr>Santander Text Light</vt:lpstr>
      <vt:lpstr>Wingdings</vt:lpstr>
      <vt:lpstr>SAM_Cover Pages, Cover Pages, Impact Phrases</vt:lpstr>
      <vt:lpstr>SAM Template</vt:lpstr>
      <vt:lpstr>think-cell Slide</vt:lpstr>
      <vt:lpstr>Presentación de PowerPoint</vt:lpstr>
      <vt:lpstr>Presentación de PowerPoint</vt:lpstr>
      <vt:lpstr>1) Survey (I)</vt:lpstr>
      <vt:lpstr>1) Survey (II)</vt:lpstr>
      <vt:lpstr>2) Recent updates in AI</vt:lpstr>
      <vt:lpstr>2.1) Aladdin Copilot</vt:lpstr>
      <vt:lpstr>2.2) o3-pro: OpenAI’s Reasoning-First Powerhouse (Available in SAM)</vt:lpstr>
      <vt:lpstr>2.3) Google Launches Gemini CLI: Open-Source AI Agent for Developers</vt:lpstr>
      <vt:lpstr>2.4) Harvard Releases Massive Book Dataset to Train AI</vt:lpstr>
      <vt:lpstr>2.5) Apple Updates Its Foundation Models</vt:lpstr>
      <vt:lpstr>2.6) BitNet b1.58: Lightweight LLM with Strong Performance</vt:lpstr>
      <vt:lpstr>3.1) Model Context Protocol (MCP) - Overview</vt:lpstr>
      <vt:lpstr>3.1) Model Context Protocol (MCP) – Technical Overview</vt:lpstr>
      <vt:lpstr>3.1) Model Context Protocol (MCP) - Why is MCP Relevant Now?</vt:lpstr>
      <vt:lpstr>3.2) How Anthropic Built a Multi-Agent Research System</vt:lpstr>
      <vt:lpstr>3.2) How Anthropic Built a Multi-Agent Research System - Key Learnings for Multi-Agent AI Systems &amp; Proposed use cases</vt:lpstr>
      <vt:lpstr>3.3) How to build Custom GPTs &amp; Use Cases </vt:lpstr>
      <vt:lpstr>4) Takeaways (I)</vt:lpstr>
      <vt:lpstr>4) Takeaways (I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Diana Karina Chocano Palomino</dc:creator>
  <cp:lastModifiedBy>Munarriz Herrador Iñaki</cp:lastModifiedBy>
  <cp:revision>908</cp:revision>
  <cp:lastPrinted>2023-05-24T06:58:43Z</cp:lastPrinted>
  <dcterms:created xsi:type="dcterms:W3CDTF">2019-01-11T18:46:24Z</dcterms:created>
  <dcterms:modified xsi:type="dcterms:W3CDTF">2025-07-03T14:1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c2abd79-57a9-4473-8700-c843f76a1e37_Enabled">
    <vt:lpwstr>true</vt:lpwstr>
  </property>
  <property fmtid="{D5CDD505-2E9C-101B-9397-08002B2CF9AE}" pid="3" name="MSIP_Label_0c2abd79-57a9-4473-8700-c843f76a1e37_SetDate">
    <vt:lpwstr>2023-01-18T17:54:17Z</vt:lpwstr>
  </property>
  <property fmtid="{D5CDD505-2E9C-101B-9397-08002B2CF9AE}" pid="4" name="MSIP_Label_0c2abd79-57a9-4473-8700-c843f76a1e37_Method">
    <vt:lpwstr>Privileged</vt:lpwstr>
  </property>
  <property fmtid="{D5CDD505-2E9C-101B-9397-08002B2CF9AE}" pid="5" name="MSIP_Label_0c2abd79-57a9-4473-8700-c843f76a1e37_Name">
    <vt:lpwstr>Internal</vt:lpwstr>
  </property>
  <property fmtid="{D5CDD505-2E9C-101B-9397-08002B2CF9AE}" pid="6" name="MSIP_Label_0c2abd79-57a9-4473-8700-c843f76a1e37_SiteId">
    <vt:lpwstr>35595a02-4d6d-44ac-99e1-f9ab4cd872db</vt:lpwstr>
  </property>
  <property fmtid="{D5CDD505-2E9C-101B-9397-08002B2CF9AE}" pid="7" name="MSIP_Label_0c2abd79-57a9-4473-8700-c843f76a1e37_ActionId">
    <vt:lpwstr>f7c9b8b4-d010-4586-8f12-2df85b2e7d54</vt:lpwstr>
  </property>
  <property fmtid="{D5CDD505-2E9C-101B-9397-08002B2CF9AE}" pid="8" name="MSIP_Label_0c2abd79-57a9-4473-8700-c843f76a1e37_ContentBits">
    <vt:lpwstr>0</vt:lpwstr>
  </property>
</Properties>
</file>